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98" r:id="rId2"/>
    <p:sldId id="314" r:id="rId3"/>
    <p:sldId id="399" r:id="rId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">
          <p15:clr>
            <a:srgbClr val="A4A3A4"/>
          </p15:clr>
        </p15:guide>
        <p15:guide id="2" pos="2450">
          <p15:clr>
            <a:srgbClr val="A4A3A4"/>
          </p15:clr>
        </p15:guide>
        <p15:guide id="3" pos="5124">
          <p15:clr>
            <a:srgbClr val="A4A3A4"/>
          </p15:clr>
        </p15:guide>
        <p15:guide id="4" pos="2943">
          <p15:clr>
            <a:srgbClr val="A4A3A4"/>
          </p15:clr>
        </p15:guide>
        <p15:guide id="5" pos="335">
          <p15:clr>
            <a:srgbClr val="A4A3A4"/>
          </p15:clr>
        </p15:guide>
        <p15:guide id="6" pos="5063">
          <p15:clr>
            <a:srgbClr val="A4A3A4"/>
          </p15:clr>
        </p15:guide>
        <p15:guide id="7" pos="41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haron" initials="SS" lastIdx="2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06060"/>
    <a:srgbClr val="BABABA"/>
    <a:srgbClr val="E9E9E9"/>
    <a:srgbClr val="DFDFDF"/>
    <a:srgbClr val="0018A8"/>
    <a:srgbClr val="8D64AA"/>
    <a:srgbClr val="5EC2A5"/>
    <a:srgbClr val="E0119D"/>
    <a:srgbClr val="00BCE4"/>
    <a:srgbClr val="FFD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999" autoAdjust="0"/>
    <p:restoredTop sz="96016" autoAdjust="0"/>
  </p:normalViewPr>
  <p:slideViewPr>
    <p:cSldViewPr snapToGrid="0" showGuides="1">
      <p:cViewPr varScale="1">
        <p:scale>
          <a:sx n="90" d="100"/>
          <a:sy n="90" d="100"/>
        </p:scale>
        <p:origin x="690" y="51"/>
      </p:cViewPr>
      <p:guideLst>
        <p:guide orient="horz" pos="204"/>
        <p:guide pos="2450"/>
        <p:guide pos="5124"/>
        <p:guide pos="2943"/>
        <p:guide pos="335"/>
        <p:guide pos="5063"/>
        <p:guide pos="41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651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6692AD2-7561-43DD-8E29-F60B5253519C}" type="doc">
      <dgm:prSet loTypeId="urn:microsoft.com/office/officeart/2005/8/layout/vList5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DD451BA2-0E97-42B1-9F94-610CEEFF833E}">
      <dgm:prSet/>
      <dgm:spPr/>
      <dgm:t>
        <a:bodyPr/>
        <a:lstStyle/>
        <a:p>
          <a:pPr rtl="0"/>
          <a:r>
            <a:rPr lang="en-US" b="0" smtClean="0"/>
            <a:t>Available Resources</a:t>
          </a:r>
          <a:endParaRPr lang="en-US"/>
        </a:p>
      </dgm:t>
    </dgm:pt>
    <dgm:pt modelId="{C9028A98-54A2-4FDA-9D2C-FFF008E2881C}" type="parTrans" cxnId="{C28E17AB-C03E-4181-9EEC-630A05D0E2D6}">
      <dgm:prSet/>
      <dgm:spPr/>
      <dgm:t>
        <a:bodyPr/>
        <a:lstStyle/>
        <a:p>
          <a:endParaRPr lang="en-US"/>
        </a:p>
      </dgm:t>
    </dgm:pt>
    <dgm:pt modelId="{3D83FA63-5CBF-437C-B6D3-564D62EE1D25}" type="sibTrans" cxnId="{C28E17AB-C03E-4181-9EEC-630A05D0E2D6}">
      <dgm:prSet/>
      <dgm:spPr/>
      <dgm:t>
        <a:bodyPr/>
        <a:lstStyle/>
        <a:p>
          <a:endParaRPr lang="en-US"/>
        </a:p>
      </dgm:t>
    </dgm:pt>
    <dgm:pt modelId="{98EB2FAD-AA59-4863-A209-B663828687BE}">
      <dgm:prSet/>
      <dgm:spPr/>
      <dgm:t>
        <a:bodyPr/>
        <a:lstStyle/>
        <a:p>
          <a:pPr rtl="0"/>
          <a:r>
            <a:rPr lang="en-US" b="0" smtClean="0"/>
            <a:t>WAPI &lt;GO&gt;</a:t>
          </a:r>
          <a:endParaRPr lang="en-US"/>
        </a:p>
      </dgm:t>
    </dgm:pt>
    <dgm:pt modelId="{638BC7BA-CF06-4836-9C58-DE76CA23EFD9}" type="parTrans" cxnId="{4A9D40C4-F37C-48E4-A4A8-69C83071BF00}">
      <dgm:prSet/>
      <dgm:spPr/>
      <dgm:t>
        <a:bodyPr/>
        <a:lstStyle/>
        <a:p>
          <a:endParaRPr lang="en-US"/>
        </a:p>
      </dgm:t>
    </dgm:pt>
    <dgm:pt modelId="{496B616B-9172-4FED-8E6D-41D54E1ADCC5}" type="sibTrans" cxnId="{4A9D40C4-F37C-48E4-A4A8-69C83071BF00}">
      <dgm:prSet/>
      <dgm:spPr/>
      <dgm:t>
        <a:bodyPr/>
        <a:lstStyle/>
        <a:p>
          <a:endParaRPr lang="en-US"/>
        </a:p>
      </dgm:t>
    </dgm:pt>
    <dgm:pt modelId="{950CFB37-0CA2-4D50-BA70-E1E0D41CBCD7}">
      <dgm:prSet/>
      <dgm:spPr/>
      <dgm:t>
        <a:bodyPr/>
        <a:lstStyle/>
        <a:p>
          <a:pPr rtl="0"/>
          <a:r>
            <a:rPr lang="en-US" b="0" dirty="0" smtClean="0"/>
            <a:t>COM Data Control</a:t>
          </a:r>
          <a:endParaRPr lang="en-US" dirty="0"/>
        </a:p>
      </dgm:t>
    </dgm:pt>
    <dgm:pt modelId="{23C9A3FC-4EC3-455B-8A67-6F8BC6422CBE}" type="parTrans" cxnId="{FDCC8D27-D0D4-4C65-BEB6-805DC8FE2DAD}">
      <dgm:prSet/>
      <dgm:spPr/>
      <dgm:t>
        <a:bodyPr/>
        <a:lstStyle/>
        <a:p>
          <a:endParaRPr lang="en-US"/>
        </a:p>
      </dgm:t>
    </dgm:pt>
    <dgm:pt modelId="{F5AFCFDA-BF79-407E-B18D-5DF827F6B8A6}" type="sibTrans" cxnId="{FDCC8D27-D0D4-4C65-BEB6-805DC8FE2DAD}">
      <dgm:prSet/>
      <dgm:spPr/>
      <dgm:t>
        <a:bodyPr/>
        <a:lstStyle/>
        <a:p>
          <a:endParaRPr lang="en-US"/>
        </a:p>
      </dgm:t>
    </dgm:pt>
    <dgm:pt modelId="{1C34446A-4973-4A35-8E0F-4F78697C7D2B}">
      <dgm:prSet/>
      <dgm:spPr/>
      <dgm:t>
        <a:bodyPr/>
        <a:lstStyle/>
        <a:p>
          <a:pPr rtl="0"/>
          <a:r>
            <a:rPr lang="en-US" b="0" i="1" smtClean="0"/>
            <a:t>Practical</a:t>
          </a:r>
          <a:r>
            <a:rPr lang="en-US" b="0" smtClean="0"/>
            <a:t> Live Coding Demonstration</a:t>
          </a:r>
          <a:endParaRPr lang="en-US"/>
        </a:p>
      </dgm:t>
    </dgm:pt>
    <dgm:pt modelId="{153655FA-C65D-498C-B228-C5ECA8995054}" type="parTrans" cxnId="{876FF720-937A-46A9-A66A-C7F0914F2E32}">
      <dgm:prSet/>
      <dgm:spPr/>
      <dgm:t>
        <a:bodyPr/>
        <a:lstStyle/>
        <a:p>
          <a:endParaRPr lang="en-US"/>
        </a:p>
      </dgm:t>
    </dgm:pt>
    <dgm:pt modelId="{3A36ABA0-9486-4D01-9674-0EB8AB2FF0C4}" type="sibTrans" cxnId="{876FF720-937A-46A9-A66A-C7F0914F2E32}">
      <dgm:prSet/>
      <dgm:spPr/>
      <dgm:t>
        <a:bodyPr/>
        <a:lstStyle/>
        <a:p>
          <a:endParaRPr lang="en-US"/>
        </a:p>
      </dgm:t>
    </dgm:pt>
    <dgm:pt modelId="{68C1AED8-F075-4ACD-B3DE-DA4DF66AED27}">
      <dgm:prSet/>
      <dgm:spPr/>
      <dgm:t>
        <a:bodyPr/>
        <a:lstStyle/>
        <a:p>
          <a:pPr rtl="0"/>
          <a:r>
            <a:rPr lang="en-US" b="0" smtClean="0"/>
            <a:t>“Static” reference data</a:t>
          </a:r>
          <a:endParaRPr lang="en-US"/>
        </a:p>
      </dgm:t>
    </dgm:pt>
    <dgm:pt modelId="{AB50C003-B53B-4608-808F-0B32C904B7B3}" type="parTrans" cxnId="{FC465CD5-4D84-44F5-8781-C00EBEC9169A}">
      <dgm:prSet/>
      <dgm:spPr/>
      <dgm:t>
        <a:bodyPr/>
        <a:lstStyle/>
        <a:p>
          <a:endParaRPr lang="en-US"/>
        </a:p>
      </dgm:t>
    </dgm:pt>
    <dgm:pt modelId="{9EDB071C-AB55-4B7D-919E-F48DD512D250}" type="sibTrans" cxnId="{FC465CD5-4D84-44F5-8781-C00EBEC9169A}">
      <dgm:prSet/>
      <dgm:spPr/>
      <dgm:t>
        <a:bodyPr/>
        <a:lstStyle/>
        <a:p>
          <a:endParaRPr lang="en-US"/>
        </a:p>
      </dgm:t>
    </dgm:pt>
    <dgm:pt modelId="{C6FE94F5-615D-46B8-B4FA-B3292C74E8BA}">
      <dgm:prSet/>
      <dgm:spPr/>
      <dgm:t>
        <a:bodyPr/>
        <a:lstStyle/>
        <a:p>
          <a:pPr rtl="0"/>
          <a:r>
            <a:rPr lang="en-US" b="0" smtClean="0"/>
            <a:t>Real-time subscriptions</a:t>
          </a:r>
          <a:endParaRPr lang="en-US"/>
        </a:p>
      </dgm:t>
    </dgm:pt>
    <dgm:pt modelId="{9381CF53-0B79-4A38-9F77-9C76E15ADB6A}" type="parTrans" cxnId="{445741D6-47BF-4788-BEBF-39BC07F298A3}">
      <dgm:prSet/>
      <dgm:spPr/>
      <dgm:t>
        <a:bodyPr/>
        <a:lstStyle/>
        <a:p>
          <a:endParaRPr lang="en-US"/>
        </a:p>
      </dgm:t>
    </dgm:pt>
    <dgm:pt modelId="{87CD2313-6381-493A-865C-7F31C42FFAC3}" type="sibTrans" cxnId="{445741D6-47BF-4788-BEBF-39BC07F298A3}">
      <dgm:prSet/>
      <dgm:spPr/>
      <dgm:t>
        <a:bodyPr/>
        <a:lstStyle/>
        <a:p>
          <a:endParaRPr lang="en-US"/>
        </a:p>
      </dgm:t>
    </dgm:pt>
    <dgm:pt modelId="{99EA7D49-5FC0-4D4D-8CE7-BEE628C388D1}">
      <dgm:prSet/>
      <dgm:spPr/>
      <dgm:t>
        <a:bodyPr/>
        <a:lstStyle/>
        <a:p>
          <a:pPr rtl="0"/>
          <a:r>
            <a:rPr lang="en-US" b="0" smtClean="0"/>
            <a:t>Historical time series</a:t>
          </a:r>
          <a:endParaRPr lang="en-US"/>
        </a:p>
      </dgm:t>
    </dgm:pt>
    <dgm:pt modelId="{DCA4E751-307F-496D-A60D-0E30362DD5A7}" type="parTrans" cxnId="{1CAAF345-7B6E-45A5-BD4A-195B8C158F5E}">
      <dgm:prSet/>
      <dgm:spPr/>
      <dgm:t>
        <a:bodyPr/>
        <a:lstStyle/>
        <a:p>
          <a:endParaRPr lang="en-US"/>
        </a:p>
      </dgm:t>
    </dgm:pt>
    <dgm:pt modelId="{6498253E-2F24-46BC-B7C3-A57D0E77CD44}" type="sibTrans" cxnId="{1CAAF345-7B6E-45A5-BD4A-195B8C158F5E}">
      <dgm:prSet/>
      <dgm:spPr/>
      <dgm:t>
        <a:bodyPr/>
        <a:lstStyle/>
        <a:p>
          <a:endParaRPr lang="en-US"/>
        </a:p>
      </dgm:t>
    </dgm:pt>
    <dgm:pt modelId="{E54A7332-960B-4A2A-B3C4-19118E3AF5C9}">
      <dgm:prSet/>
      <dgm:spPr/>
      <dgm:t>
        <a:bodyPr/>
        <a:lstStyle/>
        <a:p>
          <a:pPr rtl="0"/>
          <a:r>
            <a:rPr lang="en-US" dirty="0" smtClean="0"/>
            <a:t>.NET Library</a:t>
          </a:r>
          <a:endParaRPr lang="en-US" dirty="0"/>
        </a:p>
      </dgm:t>
    </dgm:pt>
    <dgm:pt modelId="{316B12E1-09A7-4661-A654-00A71ADE8F07}" type="parTrans" cxnId="{A06B8ED4-ACBC-4D58-8932-663FF21E58F7}">
      <dgm:prSet/>
      <dgm:spPr/>
    </dgm:pt>
    <dgm:pt modelId="{D543BFCF-7D9C-428D-9C93-3330FD0D9917}" type="sibTrans" cxnId="{A06B8ED4-ACBC-4D58-8932-663FF21E58F7}">
      <dgm:prSet/>
      <dgm:spPr/>
    </dgm:pt>
    <dgm:pt modelId="{9E300C4D-F827-451E-BF12-D7346E09DB9F}">
      <dgm:prSet/>
      <dgm:spPr/>
      <dgm:t>
        <a:bodyPr/>
        <a:lstStyle/>
        <a:p>
          <a:pPr rtl="0"/>
          <a:r>
            <a:rPr lang="en-US" dirty="0" smtClean="0"/>
            <a:t>bloomberglabs.com</a:t>
          </a:r>
          <a:endParaRPr lang="en-US" dirty="0"/>
        </a:p>
      </dgm:t>
    </dgm:pt>
    <dgm:pt modelId="{56E7AC85-4C82-4CF1-84A4-1D8CD5E6AEA6}" type="parTrans" cxnId="{F3985E4D-FBEE-4EB2-B3AF-F4FDBB749B0F}">
      <dgm:prSet/>
      <dgm:spPr/>
    </dgm:pt>
    <dgm:pt modelId="{836AF069-6F2B-45C4-A366-AB6084751E0A}" type="sibTrans" cxnId="{F3985E4D-FBEE-4EB2-B3AF-F4FDBB749B0F}">
      <dgm:prSet/>
      <dgm:spPr/>
    </dgm:pt>
    <dgm:pt modelId="{B4EBCE70-44C2-4E2D-97BC-AC729512D72C}" type="pres">
      <dgm:prSet presAssocID="{E6692AD2-7561-43DD-8E29-F60B5253519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A3F2A43-7CC1-4E93-AD31-CD17FA2E9C0A}" type="pres">
      <dgm:prSet presAssocID="{DD451BA2-0E97-42B1-9F94-610CEEFF833E}" presName="linNode" presStyleCnt="0"/>
      <dgm:spPr/>
    </dgm:pt>
    <dgm:pt modelId="{AD556A75-86C7-421C-8D30-0CB449FE981A}" type="pres">
      <dgm:prSet presAssocID="{DD451BA2-0E97-42B1-9F94-610CEEFF833E}" presName="parentText" presStyleLbl="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0ADD8E-A99B-45CC-929D-985F818C754B}" type="pres">
      <dgm:prSet presAssocID="{DD451BA2-0E97-42B1-9F94-610CEEFF833E}" presName="descendantText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9CBBDE-6276-45F5-8B29-741E63AB5D96}" type="pres">
      <dgm:prSet presAssocID="{3D83FA63-5CBF-437C-B6D3-564D62EE1D25}" presName="sp" presStyleCnt="0"/>
      <dgm:spPr/>
    </dgm:pt>
    <dgm:pt modelId="{334AC424-4510-45B3-98EF-EF094A645F2A}" type="pres">
      <dgm:prSet presAssocID="{1C34446A-4973-4A35-8E0F-4F78697C7D2B}" presName="linNode" presStyleCnt="0"/>
      <dgm:spPr/>
    </dgm:pt>
    <dgm:pt modelId="{8EA8A559-A837-4BE5-A150-1AFEE594A440}" type="pres">
      <dgm:prSet presAssocID="{1C34446A-4973-4A35-8E0F-4F78697C7D2B}" presName="parentText" presStyleLbl="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083CC4-4B8D-417F-AB50-C2A76D557F0E}" type="pres">
      <dgm:prSet presAssocID="{1C34446A-4973-4A35-8E0F-4F78697C7D2B}" presName="descendantText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28E17AB-C03E-4181-9EEC-630A05D0E2D6}" srcId="{E6692AD2-7561-43DD-8E29-F60B5253519C}" destId="{DD451BA2-0E97-42B1-9F94-610CEEFF833E}" srcOrd="0" destOrd="0" parTransId="{C9028A98-54A2-4FDA-9D2C-FFF008E2881C}" sibTransId="{3D83FA63-5CBF-437C-B6D3-564D62EE1D25}"/>
    <dgm:cxn modelId="{73999AE6-AF01-4163-B7E0-71BD4F07231E}" type="presOf" srcId="{DD451BA2-0E97-42B1-9F94-610CEEFF833E}" destId="{AD556A75-86C7-421C-8D30-0CB449FE981A}" srcOrd="0" destOrd="0" presId="urn:microsoft.com/office/officeart/2005/8/layout/vList5"/>
    <dgm:cxn modelId="{A643AF02-54FE-4BE0-96B7-32A3F4C4C751}" type="presOf" srcId="{950CFB37-0CA2-4D50-BA70-E1E0D41CBCD7}" destId="{C80ADD8E-A99B-45CC-929D-985F818C754B}" srcOrd="0" destOrd="1" presId="urn:microsoft.com/office/officeart/2005/8/layout/vList5"/>
    <dgm:cxn modelId="{FDCC8D27-D0D4-4C65-BEB6-805DC8FE2DAD}" srcId="{DD451BA2-0E97-42B1-9F94-610CEEFF833E}" destId="{950CFB37-0CA2-4D50-BA70-E1E0D41CBCD7}" srcOrd="1" destOrd="0" parTransId="{23C9A3FC-4EC3-455B-8A67-6F8BC6422CBE}" sibTransId="{F5AFCFDA-BF79-407E-B18D-5DF827F6B8A6}"/>
    <dgm:cxn modelId="{FC465CD5-4D84-44F5-8781-C00EBEC9169A}" srcId="{1C34446A-4973-4A35-8E0F-4F78697C7D2B}" destId="{68C1AED8-F075-4ACD-B3DE-DA4DF66AED27}" srcOrd="0" destOrd="0" parTransId="{AB50C003-B53B-4608-808F-0B32C904B7B3}" sibTransId="{9EDB071C-AB55-4B7D-919E-F48DD512D250}"/>
    <dgm:cxn modelId="{F3985E4D-FBEE-4EB2-B3AF-F4FDBB749B0F}" srcId="{DD451BA2-0E97-42B1-9F94-610CEEFF833E}" destId="{9E300C4D-F827-451E-BF12-D7346E09DB9F}" srcOrd="3" destOrd="0" parTransId="{56E7AC85-4C82-4CF1-84A4-1D8CD5E6AEA6}" sibTransId="{836AF069-6F2B-45C4-A366-AB6084751E0A}"/>
    <dgm:cxn modelId="{5AE0B4F3-ABFE-43F6-BA4F-2BDE5887A236}" type="presOf" srcId="{1C34446A-4973-4A35-8E0F-4F78697C7D2B}" destId="{8EA8A559-A837-4BE5-A150-1AFEE594A440}" srcOrd="0" destOrd="0" presId="urn:microsoft.com/office/officeart/2005/8/layout/vList5"/>
    <dgm:cxn modelId="{445741D6-47BF-4788-BEBF-39BC07F298A3}" srcId="{1C34446A-4973-4A35-8E0F-4F78697C7D2B}" destId="{C6FE94F5-615D-46B8-B4FA-B3292C74E8BA}" srcOrd="1" destOrd="0" parTransId="{9381CF53-0B79-4A38-9F77-9C76E15ADB6A}" sibTransId="{87CD2313-6381-493A-865C-7F31C42FFAC3}"/>
    <dgm:cxn modelId="{93D04397-9976-4ACA-9BEC-986F89B6230C}" type="presOf" srcId="{99EA7D49-5FC0-4D4D-8CE7-BEE628C388D1}" destId="{99083CC4-4B8D-417F-AB50-C2A76D557F0E}" srcOrd="0" destOrd="2" presId="urn:microsoft.com/office/officeart/2005/8/layout/vList5"/>
    <dgm:cxn modelId="{4A9D40C4-F37C-48E4-A4A8-69C83071BF00}" srcId="{DD451BA2-0E97-42B1-9F94-610CEEFF833E}" destId="{98EB2FAD-AA59-4863-A209-B663828687BE}" srcOrd="0" destOrd="0" parTransId="{638BC7BA-CF06-4836-9C58-DE76CA23EFD9}" sibTransId="{496B616B-9172-4FED-8E6D-41D54E1ADCC5}"/>
    <dgm:cxn modelId="{876FF720-937A-46A9-A66A-C7F0914F2E32}" srcId="{E6692AD2-7561-43DD-8E29-F60B5253519C}" destId="{1C34446A-4973-4A35-8E0F-4F78697C7D2B}" srcOrd="1" destOrd="0" parTransId="{153655FA-C65D-498C-B228-C5ECA8995054}" sibTransId="{3A36ABA0-9486-4D01-9674-0EB8AB2FF0C4}"/>
    <dgm:cxn modelId="{E15C325C-042E-4E90-A6C5-855FB5E3DB6A}" type="presOf" srcId="{68C1AED8-F075-4ACD-B3DE-DA4DF66AED27}" destId="{99083CC4-4B8D-417F-AB50-C2A76D557F0E}" srcOrd="0" destOrd="0" presId="urn:microsoft.com/office/officeart/2005/8/layout/vList5"/>
    <dgm:cxn modelId="{A06B8ED4-ACBC-4D58-8932-663FF21E58F7}" srcId="{DD451BA2-0E97-42B1-9F94-610CEEFF833E}" destId="{E54A7332-960B-4A2A-B3C4-19118E3AF5C9}" srcOrd="2" destOrd="0" parTransId="{316B12E1-09A7-4661-A654-00A71ADE8F07}" sibTransId="{D543BFCF-7D9C-428D-9C93-3330FD0D9917}"/>
    <dgm:cxn modelId="{E81959C2-FEC5-4C68-9AF4-B7201EAA8E28}" type="presOf" srcId="{E54A7332-960B-4A2A-B3C4-19118E3AF5C9}" destId="{C80ADD8E-A99B-45CC-929D-985F818C754B}" srcOrd="0" destOrd="2" presId="urn:microsoft.com/office/officeart/2005/8/layout/vList5"/>
    <dgm:cxn modelId="{A3AE72AD-8774-4872-87A1-D61C132B654F}" type="presOf" srcId="{E6692AD2-7561-43DD-8E29-F60B5253519C}" destId="{B4EBCE70-44C2-4E2D-97BC-AC729512D72C}" srcOrd="0" destOrd="0" presId="urn:microsoft.com/office/officeart/2005/8/layout/vList5"/>
    <dgm:cxn modelId="{C385184C-A683-42F3-88B2-0B26DCFA6FFE}" type="presOf" srcId="{98EB2FAD-AA59-4863-A209-B663828687BE}" destId="{C80ADD8E-A99B-45CC-929D-985F818C754B}" srcOrd="0" destOrd="0" presId="urn:microsoft.com/office/officeart/2005/8/layout/vList5"/>
    <dgm:cxn modelId="{1CAAF345-7B6E-45A5-BD4A-195B8C158F5E}" srcId="{1C34446A-4973-4A35-8E0F-4F78697C7D2B}" destId="{99EA7D49-5FC0-4D4D-8CE7-BEE628C388D1}" srcOrd="2" destOrd="0" parTransId="{DCA4E751-307F-496D-A60D-0E30362DD5A7}" sibTransId="{6498253E-2F24-46BC-B7C3-A57D0E77CD44}"/>
    <dgm:cxn modelId="{84E3DC44-BAC6-4431-98FB-267B4E9BA681}" type="presOf" srcId="{9E300C4D-F827-451E-BF12-D7346E09DB9F}" destId="{C80ADD8E-A99B-45CC-929D-985F818C754B}" srcOrd="0" destOrd="3" presId="urn:microsoft.com/office/officeart/2005/8/layout/vList5"/>
    <dgm:cxn modelId="{18DD96FB-248A-426F-8971-9882163B4F8B}" type="presOf" srcId="{C6FE94F5-615D-46B8-B4FA-B3292C74E8BA}" destId="{99083CC4-4B8D-417F-AB50-C2A76D557F0E}" srcOrd="0" destOrd="1" presId="urn:microsoft.com/office/officeart/2005/8/layout/vList5"/>
    <dgm:cxn modelId="{0E546EDB-3399-4235-92D5-8FCAF9B5EF10}" type="presParOf" srcId="{B4EBCE70-44C2-4E2D-97BC-AC729512D72C}" destId="{EA3F2A43-7CC1-4E93-AD31-CD17FA2E9C0A}" srcOrd="0" destOrd="0" presId="urn:microsoft.com/office/officeart/2005/8/layout/vList5"/>
    <dgm:cxn modelId="{E4FD4165-4D08-4410-807E-88220F654EB9}" type="presParOf" srcId="{EA3F2A43-7CC1-4E93-AD31-CD17FA2E9C0A}" destId="{AD556A75-86C7-421C-8D30-0CB449FE981A}" srcOrd="0" destOrd="0" presId="urn:microsoft.com/office/officeart/2005/8/layout/vList5"/>
    <dgm:cxn modelId="{5B081799-D67A-4B14-8069-2B8CCE521213}" type="presParOf" srcId="{EA3F2A43-7CC1-4E93-AD31-CD17FA2E9C0A}" destId="{C80ADD8E-A99B-45CC-929D-985F818C754B}" srcOrd="1" destOrd="0" presId="urn:microsoft.com/office/officeart/2005/8/layout/vList5"/>
    <dgm:cxn modelId="{3C0B6A05-1957-4A1D-BE38-5CB76756CD1A}" type="presParOf" srcId="{B4EBCE70-44C2-4E2D-97BC-AC729512D72C}" destId="{9B9CBBDE-6276-45F5-8B29-741E63AB5D96}" srcOrd="1" destOrd="0" presId="urn:microsoft.com/office/officeart/2005/8/layout/vList5"/>
    <dgm:cxn modelId="{DBEF8C72-9D53-4E09-8ACE-26E5371EFE20}" type="presParOf" srcId="{B4EBCE70-44C2-4E2D-97BC-AC729512D72C}" destId="{334AC424-4510-45B3-98EF-EF094A645F2A}" srcOrd="2" destOrd="0" presId="urn:microsoft.com/office/officeart/2005/8/layout/vList5"/>
    <dgm:cxn modelId="{135680B8-2366-4B6F-A4AE-7160F316CCEC}" type="presParOf" srcId="{334AC424-4510-45B3-98EF-EF094A645F2A}" destId="{8EA8A559-A837-4BE5-A150-1AFEE594A440}" srcOrd="0" destOrd="0" presId="urn:microsoft.com/office/officeart/2005/8/layout/vList5"/>
    <dgm:cxn modelId="{1779A0C8-D00A-4CD3-A92F-A996A12739CD}" type="presParOf" srcId="{334AC424-4510-45B3-98EF-EF094A645F2A}" destId="{99083CC4-4B8D-417F-AB50-C2A76D557F0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C3D39D2-0165-40D6-A08F-93B729A8132C}" type="doc">
      <dgm:prSet loTypeId="urn:microsoft.com/office/officeart/2005/8/layout/vList5" loCatId="list" qsTypeId="urn:microsoft.com/office/officeart/2005/8/quickstyle/simple1" qsCatId="simple" csTypeId="urn:microsoft.com/office/officeart/2005/8/colors/colorful5" csCatId="colorful"/>
      <dgm:spPr/>
      <dgm:t>
        <a:bodyPr/>
        <a:lstStyle/>
        <a:p>
          <a:endParaRPr lang="en-US"/>
        </a:p>
      </dgm:t>
    </dgm:pt>
    <dgm:pt modelId="{B79DC948-F7A1-41DA-B9AB-D903083B52D8}">
      <dgm:prSet/>
      <dgm:spPr/>
      <dgm:t>
        <a:bodyPr/>
        <a:lstStyle/>
        <a:p>
          <a:pPr rtl="0"/>
          <a:r>
            <a:rPr lang="en-US" b="1" smtClean="0"/>
            <a:t>Session</a:t>
          </a:r>
          <a:endParaRPr lang="en-US"/>
        </a:p>
      </dgm:t>
    </dgm:pt>
    <dgm:pt modelId="{9107D91C-4ACC-41AC-B049-DAA9FA955EFF}" type="parTrans" cxnId="{52BA0156-225D-495B-B245-91BA812700BB}">
      <dgm:prSet/>
      <dgm:spPr/>
      <dgm:t>
        <a:bodyPr/>
        <a:lstStyle/>
        <a:p>
          <a:endParaRPr lang="en-US"/>
        </a:p>
      </dgm:t>
    </dgm:pt>
    <dgm:pt modelId="{5056B601-7003-4C00-BC6F-46485A15AF3C}" type="sibTrans" cxnId="{52BA0156-225D-495B-B245-91BA812700BB}">
      <dgm:prSet/>
      <dgm:spPr/>
      <dgm:t>
        <a:bodyPr/>
        <a:lstStyle/>
        <a:p>
          <a:endParaRPr lang="en-US"/>
        </a:p>
      </dgm:t>
    </dgm:pt>
    <dgm:pt modelId="{54AB6161-1F01-4079-9FF9-20927971C53B}">
      <dgm:prSet/>
      <dgm:spPr/>
      <dgm:t>
        <a:bodyPr/>
        <a:lstStyle/>
        <a:p>
          <a:pPr rtl="0"/>
          <a:r>
            <a:rPr lang="en-US" b="0" smtClean="0"/>
            <a:t>Start / stop</a:t>
          </a:r>
          <a:endParaRPr lang="en-US"/>
        </a:p>
      </dgm:t>
    </dgm:pt>
    <dgm:pt modelId="{B535D6AF-2682-4D2D-B928-F5C87AC49AFF}" type="parTrans" cxnId="{633DADC9-0D01-4AAF-8D12-0D8F43050334}">
      <dgm:prSet/>
      <dgm:spPr/>
      <dgm:t>
        <a:bodyPr/>
        <a:lstStyle/>
        <a:p>
          <a:endParaRPr lang="en-US"/>
        </a:p>
      </dgm:t>
    </dgm:pt>
    <dgm:pt modelId="{2D941D14-A20A-4B1E-8387-955AD8F1D087}" type="sibTrans" cxnId="{633DADC9-0D01-4AAF-8D12-0D8F43050334}">
      <dgm:prSet/>
      <dgm:spPr/>
      <dgm:t>
        <a:bodyPr/>
        <a:lstStyle/>
        <a:p>
          <a:endParaRPr lang="en-US"/>
        </a:p>
      </dgm:t>
    </dgm:pt>
    <dgm:pt modelId="{49BE4066-87E2-49FE-B110-7FFEB22BC6AC}">
      <dgm:prSet/>
      <dgm:spPr/>
      <dgm:t>
        <a:bodyPr/>
        <a:lstStyle/>
        <a:p>
          <a:pPr rtl="0"/>
          <a:r>
            <a:rPr lang="en-US" b="1" smtClean="0"/>
            <a:t>Service</a:t>
          </a:r>
          <a:endParaRPr lang="en-US"/>
        </a:p>
      </dgm:t>
    </dgm:pt>
    <dgm:pt modelId="{44073DCA-D108-4AA4-A0EF-6AF72E337620}" type="parTrans" cxnId="{0B9C398A-9CDF-4632-A226-534128C8A13A}">
      <dgm:prSet/>
      <dgm:spPr/>
      <dgm:t>
        <a:bodyPr/>
        <a:lstStyle/>
        <a:p>
          <a:endParaRPr lang="en-US"/>
        </a:p>
      </dgm:t>
    </dgm:pt>
    <dgm:pt modelId="{8D41AA02-4F6A-47C5-A1AC-0C21AFB327FE}" type="sibTrans" cxnId="{0B9C398A-9CDF-4632-A226-534128C8A13A}">
      <dgm:prSet/>
      <dgm:spPr/>
      <dgm:t>
        <a:bodyPr/>
        <a:lstStyle/>
        <a:p>
          <a:endParaRPr lang="en-US"/>
        </a:p>
      </dgm:t>
    </dgm:pt>
    <dgm:pt modelId="{237996DA-6ADA-4289-BF00-2A0B6AB050D9}">
      <dgm:prSet/>
      <dgm:spPr/>
      <dgm:t>
        <a:bodyPr/>
        <a:lstStyle/>
        <a:p>
          <a:pPr rtl="0"/>
          <a:r>
            <a:rPr lang="en-US" b="0" smtClean="0"/>
            <a:t>Open from the session</a:t>
          </a:r>
          <a:endParaRPr lang="en-US"/>
        </a:p>
      </dgm:t>
    </dgm:pt>
    <dgm:pt modelId="{EABE1234-0ABB-4D22-AD4B-00ADCC4D287B}" type="parTrans" cxnId="{A4ED1D50-81A3-42C6-B5B3-6D789682782F}">
      <dgm:prSet/>
      <dgm:spPr/>
      <dgm:t>
        <a:bodyPr/>
        <a:lstStyle/>
        <a:p>
          <a:endParaRPr lang="en-US"/>
        </a:p>
      </dgm:t>
    </dgm:pt>
    <dgm:pt modelId="{8F9DC451-3631-4898-94E8-9532C254216B}" type="sibTrans" cxnId="{A4ED1D50-81A3-42C6-B5B3-6D789682782F}">
      <dgm:prSet/>
      <dgm:spPr/>
      <dgm:t>
        <a:bodyPr/>
        <a:lstStyle/>
        <a:p>
          <a:endParaRPr lang="en-US"/>
        </a:p>
      </dgm:t>
    </dgm:pt>
    <dgm:pt modelId="{2919FD25-FCA9-4EA1-889F-0C46792CC2E6}">
      <dgm:prSet/>
      <dgm:spPr/>
      <dgm:t>
        <a:bodyPr/>
        <a:lstStyle/>
        <a:p>
          <a:pPr rtl="0"/>
          <a:r>
            <a:rPr lang="en-US" b="0" smtClean="0"/>
            <a:t>Get from the session</a:t>
          </a:r>
          <a:endParaRPr lang="en-US"/>
        </a:p>
      </dgm:t>
    </dgm:pt>
    <dgm:pt modelId="{AA77FA5A-7938-4928-9500-0ACB96B08C18}" type="parTrans" cxnId="{A6876FF3-9C63-4080-B1A2-6C70D43EF160}">
      <dgm:prSet/>
      <dgm:spPr/>
      <dgm:t>
        <a:bodyPr/>
        <a:lstStyle/>
        <a:p>
          <a:endParaRPr lang="en-US"/>
        </a:p>
      </dgm:t>
    </dgm:pt>
    <dgm:pt modelId="{1E59D9BE-157F-4CB1-B5DE-F807BB78F014}" type="sibTrans" cxnId="{A6876FF3-9C63-4080-B1A2-6C70D43EF160}">
      <dgm:prSet/>
      <dgm:spPr/>
      <dgm:t>
        <a:bodyPr/>
        <a:lstStyle/>
        <a:p>
          <a:endParaRPr lang="en-US"/>
        </a:p>
      </dgm:t>
    </dgm:pt>
    <dgm:pt modelId="{45EF837B-4E28-4B16-9AEF-329BB7EBC71F}">
      <dgm:prSet/>
      <dgm:spPr/>
      <dgm:t>
        <a:bodyPr/>
        <a:lstStyle/>
        <a:p>
          <a:pPr rtl="0"/>
          <a:r>
            <a:rPr lang="en-US" b="1" smtClean="0"/>
            <a:t>Request</a:t>
          </a:r>
          <a:endParaRPr lang="en-US"/>
        </a:p>
      </dgm:t>
    </dgm:pt>
    <dgm:pt modelId="{A2F0D7CE-D1AF-4EC6-A309-341D710C9A3C}" type="parTrans" cxnId="{B1F2B0D7-F46F-4362-BB8E-8841C446E062}">
      <dgm:prSet/>
      <dgm:spPr/>
      <dgm:t>
        <a:bodyPr/>
        <a:lstStyle/>
        <a:p>
          <a:endParaRPr lang="en-US"/>
        </a:p>
      </dgm:t>
    </dgm:pt>
    <dgm:pt modelId="{C2E0AABA-7D52-432E-930F-76D4051B7269}" type="sibTrans" cxnId="{B1F2B0D7-F46F-4362-BB8E-8841C446E062}">
      <dgm:prSet/>
      <dgm:spPr/>
      <dgm:t>
        <a:bodyPr/>
        <a:lstStyle/>
        <a:p>
          <a:endParaRPr lang="en-US"/>
        </a:p>
      </dgm:t>
    </dgm:pt>
    <dgm:pt modelId="{267BE3D8-052D-45B0-857E-507D2157E149}">
      <dgm:prSet/>
      <dgm:spPr/>
      <dgm:t>
        <a:bodyPr/>
        <a:lstStyle/>
        <a:p>
          <a:pPr rtl="0"/>
          <a:r>
            <a:rPr lang="en-US" b="0" smtClean="0"/>
            <a:t>Create from the service</a:t>
          </a:r>
          <a:endParaRPr lang="en-US"/>
        </a:p>
      </dgm:t>
    </dgm:pt>
    <dgm:pt modelId="{62A8106F-6C2D-4FAF-A6D7-4350F62A62FA}" type="parTrans" cxnId="{BE4F5928-D74C-4ED9-81D2-AAE922CB73F8}">
      <dgm:prSet/>
      <dgm:spPr/>
      <dgm:t>
        <a:bodyPr/>
        <a:lstStyle/>
        <a:p>
          <a:endParaRPr lang="en-US"/>
        </a:p>
      </dgm:t>
    </dgm:pt>
    <dgm:pt modelId="{89C19A22-5242-45E8-8823-F8927262327E}" type="sibTrans" cxnId="{BE4F5928-D74C-4ED9-81D2-AAE922CB73F8}">
      <dgm:prSet/>
      <dgm:spPr/>
      <dgm:t>
        <a:bodyPr/>
        <a:lstStyle/>
        <a:p>
          <a:endParaRPr lang="en-US"/>
        </a:p>
      </dgm:t>
    </dgm:pt>
    <dgm:pt modelId="{B4ADDF4C-FA69-49A8-9BC5-0FF7080C0B77}">
      <dgm:prSet/>
      <dgm:spPr/>
      <dgm:t>
        <a:bodyPr/>
        <a:lstStyle/>
        <a:p>
          <a:pPr rtl="0"/>
          <a:r>
            <a:rPr lang="en-US" b="1" smtClean="0"/>
            <a:t>Event</a:t>
          </a:r>
          <a:endParaRPr lang="en-US"/>
        </a:p>
      </dgm:t>
    </dgm:pt>
    <dgm:pt modelId="{7BD8C9C2-974D-4683-BED1-9A95A28A3FE3}" type="parTrans" cxnId="{163D057A-E279-49B3-9383-56CF0D2B883A}">
      <dgm:prSet/>
      <dgm:spPr/>
      <dgm:t>
        <a:bodyPr/>
        <a:lstStyle/>
        <a:p>
          <a:endParaRPr lang="en-US"/>
        </a:p>
      </dgm:t>
    </dgm:pt>
    <dgm:pt modelId="{4FB36771-E5A3-4A4A-946A-0523C44B4087}" type="sibTrans" cxnId="{163D057A-E279-49B3-9383-56CF0D2B883A}">
      <dgm:prSet/>
      <dgm:spPr/>
      <dgm:t>
        <a:bodyPr/>
        <a:lstStyle/>
        <a:p>
          <a:endParaRPr lang="en-US"/>
        </a:p>
      </dgm:t>
    </dgm:pt>
    <dgm:pt modelId="{A8B368B5-46CE-4398-B796-CEE3FBDFA993}">
      <dgm:prSet/>
      <dgm:spPr/>
      <dgm:t>
        <a:bodyPr/>
        <a:lstStyle/>
        <a:p>
          <a:pPr rtl="0"/>
          <a:r>
            <a:rPr lang="en-US" b="0" smtClean="0"/>
            <a:t>Provides response</a:t>
          </a:r>
          <a:endParaRPr lang="en-US"/>
        </a:p>
      </dgm:t>
    </dgm:pt>
    <dgm:pt modelId="{BF910938-0CFB-4C3F-B15D-60261F9FB265}" type="parTrans" cxnId="{A79BD9AD-542B-4DB3-B16D-927D41F3E250}">
      <dgm:prSet/>
      <dgm:spPr/>
      <dgm:t>
        <a:bodyPr/>
        <a:lstStyle/>
        <a:p>
          <a:endParaRPr lang="en-US"/>
        </a:p>
      </dgm:t>
    </dgm:pt>
    <dgm:pt modelId="{5095CEA9-5EB7-40BA-9860-45B40E66BD04}" type="sibTrans" cxnId="{A79BD9AD-542B-4DB3-B16D-927D41F3E250}">
      <dgm:prSet/>
      <dgm:spPr/>
      <dgm:t>
        <a:bodyPr/>
        <a:lstStyle/>
        <a:p>
          <a:endParaRPr lang="en-US"/>
        </a:p>
      </dgm:t>
    </dgm:pt>
    <dgm:pt modelId="{232A6B73-007D-4A52-B083-DC4EF7C11E7B}">
      <dgm:prSet/>
      <dgm:spPr/>
      <dgm:t>
        <a:bodyPr/>
        <a:lstStyle/>
        <a:p>
          <a:pPr rtl="0"/>
          <a:r>
            <a:rPr lang="en-US" b="1" smtClean="0"/>
            <a:t>Message &amp; Message iterators</a:t>
          </a:r>
          <a:endParaRPr lang="en-US"/>
        </a:p>
      </dgm:t>
    </dgm:pt>
    <dgm:pt modelId="{9EBBE1A2-31AC-4952-B212-9510026E0C5B}" type="parTrans" cxnId="{7F3D39FD-C4D2-4B06-8D16-60802D1C8B9C}">
      <dgm:prSet/>
      <dgm:spPr/>
      <dgm:t>
        <a:bodyPr/>
        <a:lstStyle/>
        <a:p>
          <a:endParaRPr lang="en-US"/>
        </a:p>
      </dgm:t>
    </dgm:pt>
    <dgm:pt modelId="{A1E2072A-2286-4FF1-A170-2586083DD918}" type="sibTrans" cxnId="{7F3D39FD-C4D2-4B06-8D16-60802D1C8B9C}">
      <dgm:prSet/>
      <dgm:spPr/>
      <dgm:t>
        <a:bodyPr/>
        <a:lstStyle/>
        <a:p>
          <a:endParaRPr lang="en-US"/>
        </a:p>
      </dgm:t>
    </dgm:pt>
    <dgm:pt modelId="{74E55EF0-13B4-40B2-A3F7-59877C246371}">
      <dgm:prSet/>
      <dgm:spPr/>
      <dgm:t>
        <a:bodyPr/>
        <a:lstStyle/>
        <a:p>
          <a:pPr rtl="0"/>
          <a:r>
            <a:rPr lang="en-US" b="0" smtClean="0"/>
            <a:t>Create from the Event</a:t>
          </a:r>
          <a:endParaRPr lang="en-US"/>
        </a:p>
      </dgm:t>
    </dgm:pt>
    <dgm:pt modelId="{13DD4261-0AFE-4AB1-AD1B-8460648434BF}" type="parTrans" cxnId="{AD24395D-DD9C-4C63-90E7-5DA91CD4DD9C}">
      <dgm:prSet/>
      <dgm:spPr/>
      <dgm:t>
        <a:bodyPr/>
        <a:lstStyle/>
        <a:p>
          <a:endParaRPr lang="en-US"/>
        </a:p>
      </dgm:t>
    </dgm:pt>
    <dgm:pt modelId="{A3AFEDCF-8486-4160-8EA7-CCF9DBCD6AD2}" type="sibTrans" cxnId="{AD24395D-DD9C-4C63-90E7-5DA91CD4DD9C}">
      <dgm:prSet/>
      <dgm:spPr/>
      <dgm:t>
        <a:bodyPr/>
        <a:lstStyle/>
        <a:p>
          <a:endParaRPr lang="en-US"/>
        </a:p>
      </dgm:t>
    </dgm:pt>
    <dgm:pt modelId="{EFC96548-C035-4643-BB21-DBC6CDB9A746}">
      <dgm:prSet/>
      <dgm:spPr/>
      <dgm:t>
        <a:bodyPr/>
        <a:lstStyle/>
        <a:p>
          <a:pPr rtl="0"/>
          <a:r>
            <a:rPr lang="en-US" b="1" smtClean="0"/>
            <a:t>Element</a:t>
          </a:r>
          <a:endParaRPr lang="en-US"/>
        </a:p>
      </dgm:t>
    </dgm:pt>
    <dgm:pt modelId="{D500E7F5-42EF-416D-8F9E-A6B537EA96C6}" type="parTrans" cxnId="{20BF3B6A-9C7B-4044-854E-00EF9BF2DAAF}">
      <dgm:prSet/>
      <dgm:spPr/>
      <dgm:t>
        <a:bodyPr/>
        <a:lstStyle/>
        <a:p>
          <a:endParaRPr lang="en-US"/>
        </a:p>
      </dgm:t>
    </dgm:pt>
    <dgm:pt modelId="{939964FD-84D6-4C79-B54B-928615DE8015}" type="sibTrans" cxnId="{20BF3B6A-9C7B-4044-854E-00EF9BF2DAAF}">
      <dgm:prSet/>
      <dgm:spPr/>
      <dgm:t>
        <a:bodyPr/>
        <a:lstStyle/>
        <a:p>
          <a:endParaRPr lang="en-US"/>
        </a:p>
      </dgm:t>
    </dgm:pt>
    <dgm:pt modelId="{8240367F-9760-4F3C-B7AD-680DA67B1555}">
      <dgm:prSet/>
      <dgm:spPr/>
      <dgm:t>
        <a:bodyPr/>
        <a:lstStyle/>
        <a:p>
          <a:pPr rtl="0"/>
          <a:r>
            <a:rPr lang="en-US" b="0" smtClean="0"/>
            <a:t>Get from the Message</a:t>
          </a:r>
          <a:endParaRPr lang="en-US"/>
        </a:p>
      </dgm:t>
    </dgm:pt>
    <dgm:pt modelId="{F488CBFE-695A-4C2B-AE95-A3E5C69203AD}" type="parTrans" cxnId="{E97256E3-C199-4EE7-90A3-D9C9917A5BBC}">
      <dgm:prSet/>
      <dgm:spPr/>
      <dgm:t>
        <a:bodyPr/>
        <a:lstStyle/>
        <a:p>
          <a:endParaRPr lang="en-US"/>
        </a:p>
      </dgm:t>
    </dgm:pt>
    <dgm:pt modelId="{A59F4F01-0F82-41F4-A7C9-57E673D6CA54}" type="sibTrans" cxnId="{E97256E3-C199-4EE7-90A3-D9C9917A5BBC}">
      <dgm:prSet/>
      <dgm:spPr/>
      <dgm:t>
        <a:bodyPr/>
        <a:lstStyle/>
        <a:p>
          <a:endParaRPr lang="en-US"/>
        </a:p>
      </dgm:t>
    </dgm:pt>
    <dgm:pt modelId="{55E288C8-244B-4709-952C-2D2A6CC85CB3}" type="pres">
      <dgm:prSet presAssocID="{AC3D39D2-0165-40D6-A08F-93B729A8132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3B8AA2B-9BB2-4D57-BD48-CDD18EFE0752}" type="pres">
      <dgm:prSet presAssocID="{B79DC948-F7A1-41DA-B9AB-D903083B52D8}" presName="linNode" presStyleCnt="0"/>
      <dgm:spPr/>
    </dgm:pt>
    <dgm:pt modelId="{6DEC53EC-EC06-48D9-87E1-F3ED660011FF}" type="pres">
      <dgm:prSet presAssocID="{B79DC948-F7A1-41DA-B9AB-D903083B52D8}" presName="parentText" presStyleLbl="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61745D-EC2D-4A50-B58D-54148DA62A38}" type="pres">
      <dgm:prSet presAssocID="{B79DC948-F7A1-41DA-B9AB-D903083B52D8}" presName="descendantText" presStyleLbl="alignAccFollow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6BC98D-81B0-43CB-B8AE-F98D254A9DDD}" type="pres">
      <dgm:prSet presAssocID="{5056B601-7003-4C00-BC6F-46485A15AF3C}" presName="sp" presStyleCnt="0"/>
      <dgm:spPr/>
    </dgm:pt>
    <dgm:pt modelId="{C26EA603-8507-402B-8DB7-E5AF0985140B}" type="pres">
      <dgm:prSet presAssocID="{49BE4066-87E2-49FE-B110-7FFEB22BC6AC}" presName="linNode" presStyleCnt="0"/>
      <dgm:spPr/>
    </dgm:pt>
    <dgm:pt modelId="{0DEE5079-E320-4591-9093-8FF041CA7FE8}" type="pres">
      <dgm:prSet presAssocID="{49BE4066-87E2-49FE-B110-7FFEB22BC6AC}" presName="parentText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8B8BC4-A870-4703-8518-5EE3480D3993}" type="pres">
      <dgm:prSet presAssocID="{49BE4066-87E2-49FE-B110-7FFEB22BC6AC}" presName="descendantText" presStyleLbl="alignAccFollow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9E317D-CCDB-4A60-9D9A-E140C19107FA}" type="pres">
      <dgm:prSet presAssocID="{8D41AA02-4F6A-47C5-A1AC-0C21AFB327FE}" presName="sp" presStyleCnt="0"/>
      <dgm:spPr/>
    </dgm:pt>
    <dgm:pt modelId="{85972680-FCD4-4796-A19A-73487FDEABC0}" type="pres">
      <dgm:prSet presAssocID="{45EF837B-4E28-4B16-9AEF-329BB7EBC71F}" presName="linNode" presStyleCnt="0"/>
      <dgm:spPr/>
    </dgm:pt>
    <dgm:pt modelId="{C1D1E637-1B2C-4950-B504-CED066161B69}" type="pres">
      <dgm:prSet presAssocID="{45EF837B-4E28-4B16-9AEF-329BB7EBC71F}" presName="parentText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D44520-FF7A-47FE-8459-C077C1C1A51A}" type="pres">
      <dgm:prSet presAssocID="{45EF837B-4E28-4B16-9AEF-329BB7EBC71F}" presName="descendantText" presStyleLbl="alignAccFollow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A95185-5CAB-465B-864C-9A173E498DCC}" type="pres">
      <dgm:prSet presAssocID="{C2E0AABA-7D52-432E-930F-76D4051B7269}" presName="sp" presStyleCnt="0"/>
      <dgm:spPr/>
    </dgm:pt>
    <dgm:pt modelId="{09A85904-E43D-4280-8946-1F908992A56E}" type="pres">
      <dgm:prSet presAssocID="{B4ADDF4C-FA69-49A8-9BC5-0FF7080C0B77}" presName="linNode" presStyleCnt="0"/>
      <dgm:spPr/>
    </dgm:pt>
    <dgm:pt modelId="{54F26EEE-CA5A-42DB-9F51-876283CDF94D}" type="pres">
      <dgm:prSet presAssocID="{B4ADDF4C-FA69-49A8-9BC5-0FF7080C0B77}" presName="parentText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451E67-33A2-4726-8E02-4B496027E6B4}" type="pres">
      <dgm:prSet presAssocID="{B4ADDF4C-FA69-49A8-9BC5-0FF7080C0B77}" presName="descendantText" presStyleLbl="alignAccFollow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DC2A6C1-01DA-47FF-81DE-5D3415918FF6}" type="pres">
      <dgm:prSet presAssocID="{4FB36771-E5A3-4A4A-946A-0523C44B4087}" presName="sp" presStyleCnt="0"/>
      <dgm:spPr/>
    </dgm:pt>
    <dgm:pt modelId="{A22A05FE-E7F6-4094-AA61-CB1426624E54}" type="pres">
      <dgm:prSet presAssocID="{232A6B73-007D-4A52-B083-DC4EF7C11E7B}" presName="linNode" presStyleCnt="0"/>
      <dgm:spPr/>
    </dgm:pt>
    <dgm:pt modelId="{33AC53D0-9265-4995-9B60-B6208E012D5C}" type="pres">
      <dgm:prSet presAssocID="{232A6B73-007D-4A52-B083-DC4EF7C11E7B}" presName="parentText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1E0F12-CEA5-4076-AA3C-42512164C8E3}" type="pres">
      <dgm:prSet presAssocID="{232A6B73-007D-4A52-B083-DC4EF7C11E7B}" presName="descendantText" presStyleLbl="alignAccFollow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FC63E7-E311-40BB-BC8A-D82DEA0AEC8C}" type="pres">
      <dgm:prSet presAssocID="{A1E2072A-2286-4FF1-A170-2586083DD918}" presName="sp" presStyleCnt="0"/>
      <dgm:spPr/>
    </dgm:pt>
    <dgm:pt modelId="{4C6657C6-5119-481D-8625-83F54CC9CE42}" type="pres">
      <dgm:prSet presAssocID="{EFC96548-C035-4643-BB21-DBC6CDB9A746}" presName="linNode" presStyleCnt="0"/>
      <dgm:spPr/>
    </dgm:pt>
    <dgm:pt modelId="{E2C6ADE8-3C89-4AEB-84B0-AA7B4F9C79B0}" type="pres">
      <dgm:prSet presAssocID="{EFC96548-C035-4643-BB21-DBC6CDB9A746}" presName="parentText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D854F4-AF64-4E34-995E-1F413209311A}" type="pres">
      <dgm:prSet presAssocID="{EFC96548-C035-4643-BB21-DBC6CDB9A746}" presName="descendantText" presStyleLbl="alignAccFollow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5D26A25-17C0-4C64-A861-424B0599B3B3}" type="presOf" srcId="{8240367F-9760-4F3C-B7AD-680DA67B1555}" destId="{23D854F4-AF64-4E34-995E-1F413209311A}" srcOrd="0" destOrd="0" presId="urn:microsoft.com/office/officeart/2005/8/layout/vList5"/>
    <dgm:cxn modelId="{032D3F8E-5544-411D-A406-B4241C93F958}" type="presOf" srcId="{74E55EF0-13B4-40B2-A3F7-59877C246371}" destId="{D01E0F12-CEA5-4076-AA3C-42512164C8E3}" srcOrd="0" destOrd="0" presId="urn:microsoft.com/office/officeart/2005/8/layout/vList5"/>
    <dgm:cxn modelId="{89B57E4A-2872-40F3-AE6B-619B9F5EB71C}" type="presOf" srcId="{B79DC948-F7A1-41DA-B9AB-D903083B52D8}" destId="{6DEC53EC-EC06-48D9-87E1-F3ED660011FF}" srcOrd="0" destOrd="0" presId="urn:microsoft.com/office/officeart/2005/8/layout/vList5"/>
    <dgm:cxn modelId="{A79BD9AD-542B-4DB3-B16D-927D41F3E250}" srcId="{B4ADDF4C-FA69-49A8-9BC5-0FF7080C0B77}" destId="{A8B368B5-46CE-4398-B796-CEE3FBDFA993}" srcOrd="0" destOrd="0" parTransId="{BF910938-0CFB-4C3F-B15D-60261F9FB265}" sibTransId="{5095CEA9-5EB7-40BA-9860-45B40E66BD04}"/>
    <dgm:cxn modelId="{7F3D39FD-C4D2-4B06-8D16-60802D1C8B9C}" srcId="{AC3D39D2-0165-40D6-A08F-93B729A8132C}" destId="{232A6B73-007D-4A52-B083-DC4EF7C11E7B}" srcOrd="4" destOrd="0" parTransId="{9EBBE1A2-31AC-4952-B212-9510026E0C5B}" sibTransId="{A1E2072A-2286-4FF1-A170-2586083DD918}"/>
    <dgm:cxn modelId="{237CA554-90EA-4DA1-A3ED-8733F792CF93}" type="presOf" srcId="{45EF837B-4E28-4B16-9AEF-329BB7EBC71F}" destId="{C1D1E637-1B2C-4950-B504-CED066161B69}" srcOrd="0" destOrd="0" presId="urn:microsoft.com/office/officeart/2005/8/layout/vList5"/>
    <dgm:cxn modelId="{E97256E3-C199-4EE7-90A3-D9C9917A5BBC}" srcId="{EFC96548-C035-4643-BB21-DBC6CDB9A746}" destId="{8240367F-9760-4F3C-B7AD-680DA67B1555}" srcOrd="0" destOrd="0" parTransId="{F488CBFE-695A-4C2B-AE95-A3E5C69203AD}" sibTransId="{A59F4F01-0F82-41F4-A7C9-57E673D6CA54}"/>
    <dgm:cxn modelId="{E1573314-E35A-43B9-9925-739CFF0177C0}" type="presOf" srcId="{237996DA-6ADA-4289-BF00-2A0B6AB050D9}" destId="{628B8BC4-A870-4703-8518-5EE3480D3993}" srcOrd="0" destOrd="0" presId="urn:microsoft.com/office/officeart/2005/8/layout/vList5"/>
    <dgm:cxn modelId="{E99365C4-A7E1-4918-B17C-55EAE5AAF2C0}" type="presOf" srcId="{49BE4066-87E2-49FE-B110-7FFEB22BC6AC}" destId="{0DEE5079-E320-4591-9093-8FF041CA7FE8}" srcOrd="0" destOrd="0" presId="urn:microsoft.com/office/officeart/2005/8/layout/vList5"/>
    <dgm:cxn modelId="{2926167A-15FE-4E6B-8F5A-39ADE9AE9818}" type="presOf" srcId="{AC3D39D2-0165-40D6-A08F-93B729A8132C}" destId="{55E288C8-244B-4709-952C-2D2A6CC85CB3}" srcOrd="0" destOrd="0" presId="urn:microsoft.com/office/officeart/2005/8/layout/vList5"/>
    <dgm:cxn modelId="{BEB847A0-4F86-49CB-A8DB-5EC66F5E4E63}" type="presOf" srcId="{B4ADDF4C-FA69-49A8-9BC5-0FF7080C0B77}" destId="{54F26EEE-CA5A-42DB-9F51-876283CDF94D}" srcOrd="0" destOrd="0" presId="urn:microsoft.com/office/officeart/2005/8/layout/vList5"/>
    <dgm:cxn modelId="{BE4F5928-D74C-4ED9-81D2-AAE922CB73F8}" srcId="{45EF837B-4E28-4B16-9AEF-329BB7EBC71F}" destId="{267BE3D8-052D-45B0-857E-507D2157E149}" srcOrd="0" destOrd="0" parTransId="{62A8106F-6C2D-4FAF-A6D7-4350F62A62FA}" sibTransId="{89C19A22-5242-45E8-8823-F8927262327E}"/>
    <dgm:cxn modelId="{A6876FF3-9C63-4080-B1A2-6C70D43EF160}" srcId="{49BE4066-87E2-49FE-B110-7FFEB22BC6AC}" destId="{2919FD25-FCA9-4EA1-889F-0C46792CC2E6}" srcOrd="1" destOrd="0" parTransId="{AA77FA5A-7938-4928-9500-0ACB96B08C18}" sibTransId="{1E59D9BE-157F-4CB1-B5DE-F807BB78F014}"/>
    <dgm:cxn modelId="{633DADC9-0D01-4AAF-8D12-0D8F43050334}" srcId="{B79DC948-F7A1-41DA-B9AB-D903083B52D8}" destId="{54AB6161-1F01-4079-9FF9-20927971C53B}" srcOrd="0" destOrd="0" parTransId="{B535D6AF-2682-4D2D-B928-F5C87AC49AFF}" sibTransId="{2D941D14-A20A-4B1E-8387-955AD8F1D087}"/>
    <dgm:cxn modelId="{0B9C398A-9CDF-4632-A226-534128C8A13A}" srcId="{AC3D39D2-0165-40D6-A08F-93B729A8132C}" destId="{49BE4066-87E2-49FE-B110-7FFEB22BC6AC}" srcOrd="1" destOrd="0" parTransId="{44073DCA-D108-4AA4-A0EF-6AF72E337620}" sibTransId="{8D41AA02-4F6A-47C5-A1AC-0C21AFB327FE}"/>
    <dgm:cxn modelId="{A14E716E-8957-445C-9AF1-1E0F014C8B95}" type="presOf" srcId="{2919FD25-FCA9-4EA1-889F-0C46792CC2E6}" destId="{628B8BC4-A870-4703-8518-5EE3480D3993}" srcOrd="0" destOrd="1" presId="urn:microsoft.com/office/officeart/2005/8/layout/vList5"/>
    <dgm:cxn modelId="{91F5FB66-A771-47BC-BC87-ED1DF61867AF}" type="presOf" srcId="{232A6B73-007D-4A52-B083-DC4EF7C11E7B}" destId="{33AC53D0-9265-4995-9B60-B6208E012D5C}" srcOrd="0" destOrd="0" presId="urn:microsoft.com/office/officeart/2005/8/layout/vList5"/>
    <dgm:cxn modelId="{B1F2B0D7-F46F-4362-BB8E-8841C446E062}" srcId="{AC3D39D2-0165-40D6-A08F-93B729A8132C}" destId="{45EF837B-4E28-4B16-9AEF-329BB7EBC71F}" srcOrd="2" destOrd="0" parTransId="{A2F0D7CE-D1AF-4EC6-A309-341D710C9A3C}" sibTransId="{C2E0AABA-7D52-432E-930F-76D4051B7269}"/>
    <dgm:cxn modelId="{86EF6A83-FF3A-4244-B079-5B17581347F6}" type="presOf" srcId="{54AB6161-1F01-4079-9FF9-20927971C53B}" destId="{0D61745D-EC2D-4A50-B58D-54148DA62A38}" srcOrd="0" destOrd="0" presId="urn:microsoft.com/office/officeart/2005/8/layout/vList5"/>
    <dgm:cxn modelId="{163D057A-E279-49B3-9383-56CF0D2B883A}" srcId="{AC3D39D2-0165-40D6-A08F-93B729A8132C}" destId="{B4ADDF4C-FA69-49A8-9BC5-0FF7080C0B77}" srcOrd="3" destOrd="0" parTransId="{7BD8C9C2-974D-4683-BED1-9A95A28A3FE3}" sibTransId="{4FB36771-E5A3-4A4A-946A-0523C44B4087}"/>
    <dgm:cxn modelId="{3F05F501-C9E9-43C2-B869-A2559AAA24C7}" type="presOf" srcId="{A8B368B5-46CE-4398-B796-CEE3FBDFA993}" destId="{F9451E67-33A2-4726-8E02-4B496027E6B4}" srcOrd="0" destOrd="0" presId="urn:microsoft.com/office/officeart/2005/8/layout/vList5"/>
    <dgm:cxn modelId="{20BF3B6A-9C7B-4044-854E-00EF9BF2DAAF}" srcId="{AC3D39D2-0165-40D6-A08F-93B729A8132C}" destId="{EFC96548-C035-4643-BB21-DBC6CDB9A746}" srcOrd="5" destOrd="0" parTransId="{D500E7F5-42EF-416D-8F9E-A6B537EA96C6}" sibTransId="{939964FD-84D6-4C79-B54B-928615DE8015}"/>
    <dgm:cxn modelId="{AD24395D-DD9C-4C63-90E7-5DA91CD4DD9C}" srcId="{232A6B73-007D-4A52-B083-DC4EF7C11E7B}" destId="{74E55EF0-13B4-40B2-A3F7-59877C246371}" srcOrd="0" destOrd="0" parTransId="{13DD4261-0AFE-4AB1-AD1B-8460648434BF}" sibTransId="{A3AFEDCF-8486-4160-8EA7-CCF9DBCD6AD2}"/>
    <dgm:cxn modelId="{52BA0156-225D-495B-B245-91BA812700BB}" srcId="{AC3D39D2-0165-40D6-A08F-93B729A8132C}" destId="{B79DC948-F7A1-41DA-B9AB-D903083B52D8}" srcOrd="0" destOrd="0" parTransId="{9107D91C-4ACC-41AC-B049-DAA9FA955EFF}" sibTransId="{5056B601-7003-4C00-BC6F-46485A15AF3C}"/>
    <dgm:cxn modelId="{7699F444-71B7-4D22-A78E-81699ED93BC2}" type="presOf" srcId="{EFC96548-C035-4643-BB21-DBC6CDB9A746}" destId="{E2C6ADE8-3C89-4AEB-84B0-AA7B4F9C79B0}" srcOrd="0" destOrd="0" presId="urn:microsoft.com/office/officeart/2005/8/layout/vList5"/>
    <dgm:cxn modelId="{7A2834FF-EEA9-4CCD-B9AB-CFE348C254A2}" type="presOf" srcId="{267BE3D8-052D-45B0-857E-507D2157E149}" destId="{77D44520-FF7A-47FE-8459-C077C1C1A51A}" srcOrd="0" destOrd="0" presId="urn:microsoft.com/office/officeart/2005/8/layout/vList5"/>
    <dgm:cxn modelId="{A4ED1D50-81A3-42C6-B5B3-6D789682782F}" srcId="{49BE4066-87E2-49FE-B110-7FFEB22BC6AC}" destId="{237996DA-6ADA-4289-BF00-2A0B6AB050D9}" srcOrd="0" destOrd="0" parTransId="{EABE1234-0ABB-4D22-AD4B-00ADCC4D287B}" sibTransId="{8F9DC451-3631-4898-94E8-9532C254216B}"/>
    <dgm:cxn modelId="{809968B2-23E7-486F-8E1C-975506869E4B}" type="presParOf" srcId="{55E288C8-244B-4709-952C-2D2A6CC85CB3}" destId="{73B8AA2B-9BB2-4D57-BD48-CDD18EFE0752}" srcOrd="0" destOrd="0" presId="urn:microsoft.com/office/officeart/2005/8/layout/vList5"/>
    <dgm:cxn modelId="{794F2DB9-04C5-4C9C-8CD7-9128E393D220}" type="presParOf" srcId="{73B8AA2B-9BB2-4D57-BD48-CDD18EFE0752}" destId="{6DEC53EC-EC06-48D9-87E1-F3ED660011FF}" srcOrd="0" destOrd="0" presId="urn:microsoft.com/office/officeart/2005/8/layout/vList5"/>
    <dgm:cxn modelId="{C77A39CA-C2A8-4D08-93BE-CBBCC8D9B2B1}" type="presParOf" srcId="{73B8AA2B-9BB2-4D57-BD48-CDD18EFE0752}" destId="{0D61745D-EC2D-4A50-B58D-54148DA62A38}" srcOrd="1" destOrd="0" presId="urn:microsoft.com/office/officeart/2005/8/layout/vList5"/>
    <dgm:cxn modelId="{C2210D9F-73A2-498D-A9D9-F47886856F32}" type="presParOf" srcId="{55E288C8-244B-4709-952C-2D2A6CC85CB3}" destId="{C86BC98D-81B0-43CB-B8AE-F98D254A9DDD}" srcOrd="1" destOrd="0" presId="urn:microsoft.com/office/officeart/2005/8/layout/vList5"/>
    <dgm:cxn modelId="{55DE7164-240E-4EFA-AE46-6566CA89A691}" type="presParOf" srcId="{55E288C8-244B-4709-952C-2D2A6CC85CB3}" destId="{C26EA603-8507-402B-8DB7-E5AF0985140B}" srcOrd="2" destOrd="0" presId="urn:microsoft.com/office/officeart/2005/8/layout/vList5"/>
    <dgm:cxn modelId="{46B6A515-B9A9-4F4D-9477-7CD32211A2F7}" type="presParOf" srcId="{C26EA603-8507-402B-8DB7-E5AF0985140B}" destId="{0DEE5079-E320-4591-9093-8FF041CA7FE8}" srcOrd="0" destOrd="0" presId="urn:microsoft.com/office/officeart/2005/8/layout/vList5"/>
    <dgm:cxn modelId="{EB601D7F-1C8E-448F-A96A-27812E04F0DF}" type="presParOf" srcId="{C26EA603-8507-402B-8DB7-E5AF0985140B}" destId="{628B8BC4-A870-4703-8518-5EE3480D3993}" srcOrd="1" destOrd="0" presId="urn:microsoft.com/office/officeart/2005/8/layout/vList5"/>
    <dgm:cxn modelId="{2F4691C1-1560-4A5E-8D05-5CD43F913949}" type="presParOf" srcId="{55E288C8-244B-4709-952C-2D2A6CC85CB3}" destId="{6A9E317D-CCDB-4A60-9D9A-E140C19107FA}" srcOrd="3" destOrd="0" presId="urn:microsoft.com/office/officeart/2005/8/layout/vList5"/>
    <dgm:cxn modelId="{468B52D0-0390-42AD-AB7C-BEE6D7E77D5A}" type="presParOf" srcId="{55E288C8-244B-4709-952C-2D2A6CC85CB3}" destId="{85972680-FCD4-4796-A19A-73487FDEABC0}" srcOrd="4" destOrd="0" presId="urn:microsoft.com/office/officeart/2005/8/layout/vList5"/>
    <dgm:cxn modelId="{C88CD2C3-F42C-4FA8-8F61-264DC030A260}" type="presParOf" srcId="{85972680-FCD4-4796-A19A-73487FDEABC0}" destId="{C1D1E637-1B2C-4950-B504-CED066161B69}" srcOrd="0" destOrd="0" presId="urn:microsoft.com/office/officeart/2005/8/layout/vList5"/>
    <dgm:cxn modelId="{31854748-2538-4620-9975-BFA30753B306}" type="presParOf" srcId="{85972680-FCD4-4796-A19A-73487FDEABC0}" destId="{77D44520-FF7A-47FE-8459-C077C1C1A51A}" srcOrd="1" destOrd="0" presId="urn:microsoft.com/office/officeart/2005/8/layout/vList5"/>
    <dgm:cxn modelId="{5801D752-5D64-4353-9E63-2D7E43FD3320}" type="presParOf" srcId="{55E288C8-244B-4709-952C-2D2A6CC85CB3}" destId="{B8A95185-5CAB-465B-864C-9A173E498DCC}" srcOrd="5" destOrd="0" presId="urn:microsoft.com/office/officeart/2005/8/layout/vList5"/>
    <dgm:cxn modelId="{CC73913B-CE11-4F23-8861-FB516E6F4A76}" type="presParOf" srcId="{55E288C8-244B-4709-952C-2D2A6CC85CB3}" destId="{09A85904-E43D-4280-8946-1F908992A56E}" srcOrd="6" destOrd="0" presId="urn:microsoft.com/office/officeart/2005/8/layout/vList5"/>
    <dgm:cxn modelId="{F4981CDB-9D9F-4941-B78B-73B7AD5D79DB}" type="presParOf" srcId="{09A85904-E43D-4280-8946-1F908992A56E}" destId="{54F26EEE-CA5A-42DB-9F51-876283CDF94D}" srcOrd="0" destOrd="0" presId="urn:microsoft.com/office/officeart/2005/8/layout/vList5"/>
    <dgm:cxn modelId="{8B384BAE-412A-49CF-AF9D-C720D093009C}" type="presParOf" srcId="{09A85904-E43D-4280-8946-1F908992A56E}" destId="{F9451E67-33A2-4726-8E02-4B496027E6B4}" srcOrd="1" destOrd="0" presId="urn:microsoft.com/office/officeart/2005/8/layout/vList5"/>
    <dgm:cxn modelId="{371C1A6B-3336-4C62-A509-66DB4C1516FB}" type="presParOf" srcId="{55E288C8-244B-4709-952C-2D2A6CC85CB3}" destId="{3DC2A6C1-01DA-47FF-81DE-5D3415918FF6}" srcOrd="7" destOrd="0" presId="urn:microsoft.com/office/officeart/2005/8/layout/vList5"/>
    <dgm:cxn modelId="{F0297083-59D0-4BC1-BF55-9CA50DFE6C4C}" type="presParOf" srcId="{55E288C8-244B-4709-952C-2D2A6CC85CB3}" destId="{A22A05FE-E7F6-4094-AA61-CB1426624E54}" srcOrd="8" destOrd="0" presId="urn:microsoft.com/office/officeart/2005/8/layout/vList5"/>
    <dgm:cxn modelId="{487B5C12-A97F-4828-A7CD-C8226CCAEA9F}" type="presParOf" srcId="{A22A05FE-E7F6-4094-AA61-CB1426624E54}" destId="{33AC53D0-9265-4995-9B60-B6208E012D5C}" srcOrd="0" destOrd="0" presId="urn:microsoft.com/office/officeart/2005/8/layout/vList5"/>
    <dgm:cxn modelId="{4BA3FFEA-750C-472D-8112-E63CE12E98BD}" type="presParOf" srcId="{A22A05FE-E7F6-4094-AA61-CB1426624E54}" destId="{D01E0F12-CEA5-4076-AA3C-42512164C8E3}" srcOrd="1" destOrd="0" presId="urn:microsoft.com/office/officeart/2005/8/layout/vList5"/>
    <dgm:cxn modelId="{145E1FE5-3A47-437F-80E6-99C405983808}" type="presParOf" srcId="{55E288C8-244B-4709-952C-2D2A6CC85CB3}" destId="{31FC63E7-E311-40BB-BC8A-D82DEA0AEC8C}" srcOrd="9" destOrd="0" presId="urn:microsoft.com/office/officeart/2005/8/layout/vList5"/>
    <dgm:cxn modelId="{479B00E3-A2AC-4407-B9C4-04C3FDE84CC5}" type="presParOf" srcId="{55E288C8-244B-4709-952C-2D2A6CC85CB3}" destId="{4C6657C6-5119-481D-8625-83F54CC9CE42}" srcOrd="10" destOrd="0" presId="urn:microsoft.com/office/officeart/2005/8/layout/vList5"/>
    <dgm:cxn modelId="{48B01D92-8160-4499-83BF-E016D6E5A49C}" type="presParOf" srcId="{4C6657C6-5119-481D-8625-83F54CC9CE42}" destId="{E2C6ADE8-3C89-4AEB-84B0-AA7B4F9C79B0}" srcOrd="0" destOrd="0" presId="urn:microsoft.com/office/officeart/2005/8/layout/vList5"/>
    <dgm:cxn modelId="{F39843B3-8902-46A3-9062-AEE17523B7BD}" type="presParOf" srcId="{4C6657C6-5119-481D-8625-83F54CC9CE42}" destId="{23D854F4-AF64-4E34-995E-1F413209311A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0ADD8E-A99B-45CC-929D-985F818C754B}">
      <dsp:nvSpPr>
        <dsp:cNvPr id="0" name=""/>
        <dsp:cNvSpPr/>
      </dsp:nvSpPr>
      <dsp:spPr>
        <a:xfrm rot="5400000">
          <a:off x="4211611" y="-1195561"/>
          <a:ext cx="2017701" cy="4913376"/>
        </a:xfrm>
        <a:prstGeom prst="round2Same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b="0" kern="1200" smtClean="0"/>
            <a:t>WAPI &lt;GO&gt;</a:t>
          </a:r>
          <a:endParaRPr lang="en-US" sz="2800" kern="120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b="0" kern="1200" dirty="0" smtClean="0"/>
            <a:t>COM Data Control</a:t>
          </a:r>
          <a:endParaRPr lang="en-US" sz="2800" kern="1200" dirty="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dirty="0" smtClean="0"/>
            <a:t>.NET Library</a:t>
          </a:r>
          <a:endParaRPr lang="en-US" sz="2800" kern="1200" dirty="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dirty="0" smtClean="0"/>
            <a:t>bloomberglabs.com</a:t>
          </a:r>
          <a:endParaRPr lang="en-US" sz="2800" kern="1200" dirty="0"/>
        </a:p>
      </dsp:txBody>
      <dsp:txXfrm rot="-5400000">
        <a:off x="2763774" y="350772"/>
        <a:ext cx="4814880" cy="1820709"/>
      </dsp:txXfrm>
    </dsp:sp>
    <dsp:sp modelId="{AD556A75-86C7-421C-8D30-0CB449FE981A}">
      <dsp:nvSpPr>
        <dsp:cNvPr id="0" name=""/>
        <dsp:cNvSpPr/>
      </dsp:nvSpPr>
      <dsp:spPr>
        <a:xfrm>
          <a:off x="0" y="63"/>
          <a:ext cx="2763774" cy="2522126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0" kern="1200" smtClean="0"/>
            <a:t>Available Resources</a:t>
          </a:r>
          <a:endParaRPr lang="en-US" sz="2700" kern="1200"/>
        </a:p>
      </dsp:txBody>
      <dsp:txXfrm>
        <a:off x="123120" y="123183"/>
        <a:ext cx="2517534" cy="2275886"/>
      </dsp:txXfrm>
    </dsp:sp>
    <dsp:sp modelId="{99083CC4-4B8D-417F-AB50-C2A76D557F0E}">
      <dsp:nvSpPr>
        <dsp:cNvPr id="0" name=""/>
        <dsp:cNvSpPr/>
      </dsp:nvSpPr>
      <dsp:spPr>
        <a:xfrm rot="5400000">
          <a:off x="4211611" y="1452671"/>
          <a:ext cx="2017701" cy="4913376"/>
        </a:xfrm>
        <a:prstGeom prst="round2SameRect">
          <a:avLst/>
        </a:prstGeom>
        <a:solidFill>
          <a:schemeClr val="accent5">
            <a:tint val="40000"/>
            <a:alpha val="90000"/>
            <a:hueOff val="4292003"/>
            <a:satOff val="-45962"/>
            <a:lumOff val="-2181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4292003"/>
              <a:satOff val="-45962"/>
              <a:lumOff val="-218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b="0" kern="1200" smtClean="0"/>
            <a:t>“Static” reference data</a:t>
          </a:r>
          <a:endParaRPr lang="en-US" sz="2800" kern="120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b="0" kern="1200" smtClean="0"/>
            <a:t>Real-time subscriptions</a:t>
          </a:r>
          <a:endParaRPr lang="en-US" sz="2800" kern="120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b="0" kern="1200" smtClean="0"/>
            <a:t>Historical time series</a:t>
          </a:r>
          <a:endParaRPr lang="en-US" sz="2800" kern="1200"/>
        </a:p>
      </dsp:txBody>
      <dsp:txXfrm rot="-5400000">
        <a:off x="2763774" y="2999004"/>
        <a:ext cx="4814880" cy="1820709"/>
      </dsp:txXfrm>
    </dsp:sp>
    <dsp:sp modelId="{8EA8A559-A837-4BE5-A150-1AFEE594A440}">
      <dsp:nvSpPr>
        <dsp:cNvPr id="0" name=""/>
        <dsp:cNvSpPr/>
      </dsp:nvSpPr>
      <dsp:spPr>
        <a:xfrm>
          <a:off x="0" y="2648296"/>
          <a:ext cx="2763774" cy="2522126"/>
        </a:xfrm>
        <a:prstGeom prst="roundRect">
          <a:avLst/>
        </a:prstGeom>
        <a:solidFill>
          <a:schemeClr val="accent5">
            <a:hueOff val="5077031"/>
            <a:satOff val="-70833"/>
            <a:lumOff val="823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b="0" i="1" kern="1200" smtClean="0"/>
            <a:t>Practical</a:t>
          </a:r>
          <a:r>
            <a:rPr lang="en-US" sz="2700" b="0" kern="1200" smtClean="0"/>
            <a:t> Live Coding Demonstration</a:t>
          </a:r>
          <a:endParaRPr lang="en-US" sz="2700" kern="1200"/>
        </a:p>
      </dsp:txBody>
      <dsp:txXfrm>
        <a:off x="123120" y="2771416"/>
        <a:ext cx="2517534" cy="22758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61745D-EC2D-4A50-B58D-54148DA62A38}">
      <dsp:nvSpPr>
        <dsp:cNvPr id="0" name=""/>
        <dsp:cNvSpPr/>
      </dsp:nvSpPr>
      <dsp:spPr>
        <a:xfrm rot="5400000">
          <a:off x="4889732" y="-2041856"/>
          <a:ext cx="661458" cy="4913376"/>
        </a:xfrm>
        <a:prstGeom prst="round2Same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b="0" kern="1200" smtClean="0"/>
            <a:t>Start / stop</a:t>
          </a:r>
          <a:endParaRPr lang="en-US" sz="1800" kern="1200"/>
        </a:p>
      </dsp:txBody>
      <dsp:txXfrm rot="-5400000">
        <a:off x="2763773" y="116393"/>
        <a:ext cx="4881086" cy="596878"/>
      </dsp:txXfrm>
    </dsp:sp>
    <dsp:sp modelId="{6DEC53EC-EC06-48D9-87E1-F3ED660011FF}">
      <dsp:nvSpPr>
        <dsp:cNvPr id="0" name=""/>
        <dsp:cNvSpPr/>
      </dsp:nvSpPr>
      <dsp:spPr>
        <a:xfrm>
          <a:off x="0" y="1420"/>
          <a:ext cx="2763774" cy="826823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smtClean="0"/>
            <a:t>Session</a:t>
          </a:r>
          <a:endParaRPr lang="en-US" sz="2300" kern="1200"/>
        </a:p>
      </dsp:txBody>
      <dsp:txXfrm>
        <a:off x="40362" y="41782"/>
        <a:ext cx="2683050" cy="746099"/>
      </dsp:txXfrm>
    </dsp:sp>
    <dsp:sp modelId="{628B8BC4-A870-4703-8518-5EE3480D3993}">
      <dsp:nvSpPr>
        <dsp:cNvPr id="0" name=""/>
        <dsp:cNvSpPr/>
      </dsp:nvSpPr>
      <dsp:spPr>
        <a:xfrm rot="5400000">
          <a:off x="4889732" y="-1173691"/>
          <a:ext cx="661458" cy="4913376"/>
        </a:xfrm>
        <a:prstGeom prst="round2SameRect">
          <a:avLst/>
        </a:prstGeom>
        <a:solidFill>
          <a:schemeClr val="accent5">
            <a:tint val="40000"/>
            <a:alpha val="90000"/>
            <a:hueOff val="858401"/>
            <a:satOff val="-9192"/>
            <a:lumOff val="-436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858401"/>
              <a:satOff val="-9192"/>
              <a:lumOff val="-43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b="0" kern="1200" smtClean="0"/>
            <a:t>Open from the session</a:t>
          </a:r>
          <a:endParaRPr lang="en-US" sz="1800" kern="120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b="0" kern="1200" smtClean="0"/>
            <a:t>Get from the session</a:t>
          </a:r>
          <a:endParaRPr lang="en-US" sz="1800" kern="1200"/>
        </a:p>
      </dsp:txBody>
      <dsp:txXfrm rot="-5400000">
        <a:off x="2763773" y="984558"/>
        <a:ext cx="4881086" cy="596878"/>
      </dsp:txXfrm>
    </dsp:sp>
    <dsp:sp modelId="{0DEE5079-E320-4591-9093-8FF041CA7FE8}">
      <dsp:nvSpPr>
        <dsp:cNvPr id="0" name=""/>
        <dsp:cNvSpPr/>
      </dsp:nvSpPr>
      <dsp:spPr>
        <a:xfrm>
          <a:off x="0" y="869584"/>
          <a:ext cx="2763774" cy="826823"/>
        </a:xfrm>
        <a:prstGeom prst="roundRect">
          <a:avLst/>
        </a:prstGeom>
        <a:solidFill>
          <a:schemeClr val="accent5">
            <a:hueOff val="1015406"/>
            <a:satOff val="-14167"/>
            <a:lumOff val="164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smtClean="0"/>
            <a:t>Service</a:t>
          </a:r>
          <a:endParaRPr lang="en-US" sz="2300" kern="1200"/>
        </a:p>
      </dsp:txBody>
      <dsp:txXfrm>
        <a:off x="40362" y="909946"/>
        <a:ext cx="2683050" cy="746099"/>
      </dsp:txXfrm>
    </dsp:sp>
    <dsp:sp modelId="{77D44520-FF7A-47FE-8459-C077C1C1A51A}">
      <dsp:nvSpPr>
        <dsp:cNvPr id="0" name=""/>
        <dsp:cNvSpPr/>
      </dsp:nvSpPr>
      <dsp:spPr>
        <a:xfrm rot="5400000">
          <a:off x="4889732" y="-305527"/>
          <a:ext cx="661458" cy="4913376"/>
        </a:xfrm>
        <a:prstGeom prst="round2SameRect">
          <a:avLst/>
        </a:prstGeom>
        <a:solidFill>
          <a:schemeClr val="accent5">
            <a:tint val="40000"/>
            <a:alpha val="90000"/>
            <a:hueOff val="1716801"/>
            <a:satOff val="-18385"/>
            <a:lumOff val="-872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1716801"/>
              <a:satOff val="-18385"/>
              <a:lumOff val="-87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b="0" kern="1200" smtClean="0"/>
            <a:t>Create from the service</a:t>
          </a:r>
          <a:endParaRPr lang="en-US" sz="1800" kern="1200"/>
        </a:p>
      </dsp:txBody>
      <dsp:txXfrm rot="-5400000">
        <a:off x="2763773" y="1852722"/>
        <a:ext cx="4881086" cy="596878"/>
      </dsp:txXfrm>
    </dsp:sp>
    <dsp:sp modelId="{C1D1E637-1B2C-4950-B504-CED066161B69}">
      <dsp:nvSpPr>
        <dsp:cNvPr id="0" name=""/>
        <dsp:cNvSpPr/>
      </dsp:nvSpPr>
      <dsp:spPr>
        <a:xfrm>
          <a:off x="0" y="1737749"/>
          <a:ext cx="2763774" cy="826823"/>
        </a:xfrm>
        <a:prstGeom prst="roundRect">
          <a:avLst/>
        </a:prstGeom>
        <a:solidFill>
          <a:schemeClr val="accent5">
            <a:hueOff val="2030812"/>
            <a:satOff val="-28333"/>
            <a:lumOff val="329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smtClean="0"/>
            <a:t>Request</a:t>
          </a:r>
          <a:endParaRPr lang="en-US" sz="2300" kern="1200"/>
        </a:p>
      </dsp:txBody>
      <dsp:txXfrm>
        <a:off x="40362" y="1778111"/>
        <a:ext cx="2683050" cy="746099"/>
      </dsp:txXfrm>
    </dsp:sp>
    <dsp:sp modelId="{F9451E67-33A2-4726-8E02-4B496027E6B4}">
      <dsp:nvSpPr>
        <dsp:cNvPr id="0" name=""/>
        <dsp:cNvSpPr/>
      </dsp:nvSpPr>
      <dsp:spPr>
        <a:xfrm rot="5400000">
          <a:off x="4889732" y="562637"/>
          <a:ext cx="661458" cy="4913376"/>
        </a:xfrm>
        <a:prstGeom prst="round2SameRect">
          <a:avLst/>
        </a:prstGeom>
        <a:solidFill>
          <a:schemeClr val="accent5">
            <a:tint val="40000"/>
            <a:alpha val="90000"/>
            <a:hueOff val="2575202"/>
            <a:satOff val="-27577"/>
            <a:lumOff val="-1309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2575202"/>
              <a:satOff val="-27577"/>
              <a:lumOff val="-130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b="0" kern="1200" smtClean="0"/>
            <a:t>Provides response</a:t>
          </a:r>
          <a:endParaRPr lang="en-US" sz="1800" kern="1200"/>
        </a:p>
      </dsp:txBody>
      <dsp:txXfrm rot="-5400000">
        <a:off x="2763773" y="2720886"/>
        <a:ext cx="4881086" cy="596878"/>
      </dsp:txXfrm>
    </dsp:sp>
    <dsp:sp modelId="{54F26EEE-CA5A-42DB-9F51-876283CDF94D}">
      <dsp:nvSpPr>
        <dsp:cNvPr id="0" name=""/>
        <dsp:cNvSpPr/>
      </dsp:nvSpPr>
      <dsp:spPr>
        <a:xfrm>
          <a:off x="0" y="2605913"/>
          <a:ext cx="2763774" cy="826823"/>
        </a:xfrm>
        <a:prstGeom prst="roundRect">
          <a:avLst/>
        </a:prstGeom>
        <a:solidFill>
          <a:schemeClr val="accent5">
            <a:hueOff val="3046219"/>
            <a:satOff val="-42500"/>
            <a:lumOff val="494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smtClean="0"/>
            <a:t>Event</a:t>
          </a:r>
          <a:endParaRPr lang="en-US" sz="2300" kern="1200"/>
        </a:p>
      </dsp:txBody>
      <dsp:txXfrm>
        <a:off x="40362" y="2646275"/>
        <a:ext cx="2683050" cy="746099"/>
      </dsp:txXfrm>
    </dsp:sp>
    <dsp:sp modelId="{D01E0F12-CEA5-4076-AA3C-42512164C8E3}">
      <dsp:nvSpPr>
        <dsp:cNvPr id="0" name=""/>
        <dsp:cNvSpPr/>
      </dsp:nvSpPr>
      <dsp:spPr>
        <a:xfrm rot="5400000">
          <a:off x="4889732" y="1430801"/>
          <a:ext cx="661458" cy="4913376"/>
        </a:xfrm>
        <a:prstGeom prst="round2SameRect">
          <a:avLst/>
        </a:prstGeom>
        <a:solidFill>
          <a:schemeClr val="accent5">
            <a:tint val="40000"/>
            <a:alpha val="90000"/>
            <a:hueOff val="3433603"/>
            <a:satOff val="-36770"/>
            <a:lumOff val="-1745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3433603"/>
              <a:satOff val="-36770"/>
              <a:lumOff val="-174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b="0" kern="1200" smtClean="0"/>
            <a:t>Create from the Event</a:t>
          </a:r>
          <a:endParaRPr lang="en-US" sz="1800" kern="1200"/>
        </a:p>
      </dsp:txBody>
      <dsp:txXfrm rot="-5400000">
        <a:off x="2763773" y="3589050"/>
        <a:ext cx="4881086" cy="596878"/>
      </dsp:txXfrm>
    </dsp:sp>
    <dsp:sp modelId="{33AC53D0-9265-4995-9B60-B6208E012D5C}">
      <dsp:nvSpPr>
        <dsp:cNvPr id="0" name=""/>
        <dsp:cNvSpPr/>
      </dsp:nvSpPr>
      <dsp:spPr>
        <a:xfrm>
          <a:off x="0" y="3474078"/>
          <a:ext cx="2763774" cy="826823"/>
        </a:xfrm>
        <a:prstGeom prst="roundRect">
          <a:avLst/>
        </a:prstGeom>
        <a:solidFill>
          <a:schemeClr val="accent5">
            <a:hueOff val="4061625"/>
            <a:satOff val="-56666"/>
            <a:lumOff val="658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smtClean="0"/>
            <a:t>Message &amp; Message iterators</a:t>
          </a:r>
          <a:endParaRPr lang="en-US" sz="2300" kern="1200"/>
        </a:p>
      </dsp:txBody>
      <dsp:txXfrm>
        <a:off x="40362" y="3514440"/>
        <a:ext cx="2683050" cy="746099"/>
      </dsp:txXfrm>
    </dsp:sp>
    <dsp:sp modelId="{23D854F4-AF64-4E34-995E-1F413209311A}">
      <dsp:nvSpPr>
        <dsp:cNvPr id="0" name=""/>
        <dsp:cNvSpPr/>
      </dsp:nvSpPr>
      <dsp:spPr>
        <a:xfrm rot="5400000">
          <a:off x="4889732" y="2298966"/>
          <a:ext cx="661458" cy="4913376"/>
        </a:xfrm>
        <a:prstGeom prst="round2SameRect">
          <a:avLst/>
        </a:prstGeom>
        <a:solidFill>
          <a:schemeClr val="accent5">
            <a:tint val="40000"/>
            <a:alpha val="90000"/>
            <a:hueOff val="4292003"/>
            <a:satOff val="-45962"/>
            <a:lumOff val="-2181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4292003"/>
              <a:satOff val="-45962"/>
              <a:lumOff val="-218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b="0" kern="1200" smtClean="0"/>
            <a:t>Get from the Message</a:t>
          </a:r>
          <a:endParaRPr lang="en-US" sz="1800" kern="1200"/>
        </a:p>
      </dsp:txBody>
      <dsp:txXfrm rot="-5400000">
        <a:off x="2763773" y="4457215"/>
        <a:ext cx="4881086" cy="596878"/>
      </dsp:txXfrm>
    </dsp:sp>
    <dsp:sp modelId="{E2C6ADE8-3C89-4AEB-84B0-AA7B4F9C79B0}">
      <dsp:nvSpPr>
        <dsp:cNvPr id="0" name=""/>
        <dsp:cNvSpPr/>
      </dsp:nvSpPr>
      <dsp:spPr>
        <a:xfrm>
          <a:off x="0" y="4342242"/>
          <a:ext cx="2763774" cy="826823"/>
        </a:xfrm>
        <a:prstGeom prst="roundRect">
          <a:avLst/>
        </a:prstGeom>
        <a:solidFill>
          <a:schemeClr val="accent5">
            <a:hueOff val="5077031"/>
            <a:satOff val="-70833"/>
            <a:lumOff val="823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smtClean="0"/>
            <a:t>Element</a:t>
          </a:r>
          <a:endParaRPr lang="en-US" sz="2300" kern="1200"/>
        </a:p>
      </dsp:txBody>
      <dsp:txXfrm>
        <a:off x="40362" y="4382604"/>
        <a:ext cx="2683050" cy="7460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BD78FF-B1C8-3E4D-A610-8CC16E4B3835}" type="datetimeFigureOut">
              <a:rPr lang="en-US" smtClean="0"/>
              <a:pPr/>
              <a:t>10/2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1F94C8-A286-A148-9DE5-82145847466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1229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4C08B1-0926-46EB-A72C-6066AF429DCA}" type="datetimeFigureOut">
              <a:rPr lang="en-US" smtClean="0"/>
              <a:pPr/>
              <a:t>10/2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02C7CD-395C-4DB6-9C71-EA637A90D9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5315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pg num"/>
          <p:cNvSpPr txBox="1">
            <a:spLocks noGrp="1" noChangeArrowheads="1"/>
          </p:cNvSpPr>
          <p:nvPr/>
        </p:nvSpPr>
        <p:spPr bwMode="auto">
          <a:xfrm>
            <a:off x="6104979" y="8779188"/>
            <a:ext cx="54573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91F1949E-EE63-44C9-89E2-7B7C32B9F977}" type="slidenum">
              <a:rPr lang="en-US" sz="1200"/>
              <a:pPr algn="r"/>
              <a:t>1</a:t>
            </a:fld>
            <a:endParaRPr lang="en-US" sz="1200" dirty="0"/>
          </a:p>
        </p:txBody>
      </p:sp>
      <p:sp>
        <p:nvSpPr>
          <p:cNvPr id="28674" name="Rectangle 4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061549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  <a:solidFill>
                <a:schemeClr val="bg1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856383" y="5603214"/>
            <a:ext cx="4929855" cy="993352"/>
            <a:chOff x="122238" y="4995863"/>
            <a:chExt cx="7208837" cy="1452562"/>
          </a:xfrm>
          <a:solidFill>
            <a:schemeClr val="tx1"/>
          </a:solidFill>
        </p:grpSpPr>
        <p:sp>
          <p:nvSpPr>
            <p:cNvPr id="10" name="Freeform 25"/>
            <p:cNvSpPr>
              <a:spLocks noEditPoints="1"/>
            </p:cNvSpPr>
            <p:nvPr/>
          </p:nvSpPr>
          <p:spPr bwMode="auto">
            <a:xfrm>
              <a:off x="122238" y="5021263"/>
              <a:ext cx="787400" cy="1065212"/>
            </a:xfrm>
            <a:custGeom>
              <a:avLst/>
              <a:gdLst/>
              <a:ahLst/>
              <a:cxnLst>
                <a:cxn ang="0">
                  <a:pos x="469" y="204"/>
                </a:cxn>
                <a:cxn ang="0">
                  <a:pos x="577" y="221"/>
                </a:cxn>
                <a:cxn ang="0">
                  <a:pos x="648" y="258"/>
                </a:cxn>
                <a:cxn ang="0">
                  <a:pos x="681" y="301"/>
                </a:cxn>
                <a:cxn ang="0">
                  <a:pos x="696" y="376"/>
                </a:cxn>
                <a:cxn ang="0">
                  <a:pos x="688" y="429"/>
                </a:cxn>
                <a:cxn ang="0">
                  <a:pos x="650" y="486"/>
                </a:cxn>
                <a:cxn ang="0">
                  <a:pos x="583" y="526"/>
                </a:cxn>
                <a:cxn ang="0">
                  <a:pos x="486" y="544"/>
                </a:cxn>
                <a:cxn ang="0">
                  <a:pos x="0" y="1342"/>
                </a:cxn>
                <a:cxn ang="0">
                  <a:pos x="579" y="1338"/>
                </a:cxn>
                <a:cxn ang="0">
                  <a:pos x="670" y="1323"/>
                </a:cxn>
                <a:cxn ang="0">
                  <a:pos x="756" y="1298"/>
                </a:cxn>
                <a:cxn ang="0">
                  <a:pos x="833" y="1260"/>
                </a:cxn>
                <a:cxn ang="0">
                  <a:pos x="899" y="1208"/>
                </a:cxn>
                <a:cxn ang="0">
                  <a:pos x="949" y="1142"/>
                </a:cxn>
                <a:cxn ang="0">
                  <a:pos x="981" y="1059"/>
                </a:cxn>
                <a:cxn ang="0">
                  <a:pos x="992" y="959"/>
                </a:cxn>
                <a:cxn ang="0">
                  <a:pos x="989" y="911"/>
                </a:cxn>
                <a:cxn ang="0">
                  <a:pos x="975" y="852"/>
                </a:cxn>
                <a:cxn ang="0">
                  <a:pos x="953" y="798"/>
                </a:cxn>
                <a:cxn ang="0">
                  <a:pos x="920" y="750"/>
                </a:cxn>
                <a:cxn ang="0">
                  <a:pos x="879" y="709"/>
                </a:cxn>
                <a:cxn ang="0">
                  <a:pos x="831" y="676"/>
                </a:cxn>
                <a:cxn ang="0">
                  <a:pos x="777" y="651"/>
                </a:cxn>
                <a:cxn ang="0">
                  <a:pos x="717" y="636"/>
                </a:cxn>
                <a:cxn ang="0">
                  <a:pos x="727" y="622"/>
                </a:cxn>
                <a:cxn ang="0">
                  <a:pos x="817" y="575"/>
                </a:cxn>
                <a:cxn ang="0">
                  <a:pos x="885" y="506"/>
                </a:cxn>
                <a:cxn ang="0">
                  <a:pos x="925" y="416"/>
                </a:cxn>
                <a:cxn ang="0">
                  <a:pos x="935" y="337"/>
                </a:cxn>
                <a:cxn ang="0">
                  <a:pos x="926" y="252"/>
                </a:cxn>
                <a:cxn ang="0">
                  <a:pos x="900" y="181"/>
                </a:cxn>
                <a:cxn ang="0">
                  <a:pos x="859" y="122"/>
                </a:cxn>
                <a:cxn ang="0">
                  <a:pos x="805" y="76"/>
                </a:cxn>
                <a:cxn ang="0">
                  <a:pos x="743" y="41"/>
                </a:cxn>
                <a:cxn ang="0">
                  <a:pos x="673" y="18"/>
                </a:cxn>
                <a:cxn ang="0">
                  <a:pos x="599" y="4"/>
                </a:cxn>
                <a:cxn ang="0">
                  <a:pos x="0" y="1342"/>
                </a:cxn>
                <a:cxn ang="0">
                  <a:pos x="503" y="751"/>
                </a:cxn>
                <a:cxn ang="0">
                  <a:pos x="620" y="765"/>
                </a:cxn>
                <a:cxn ang="0">
                  <a:pos x="683" y="792"/>
                </a:cxn>
                <a:cxn ang="0">
                  <a:pos x="714" y="818"/>
                </a:cxn>
                <a:cxn ang="0">
                  <a:pos x="736" y="851"/>
                </a:cxn>
                <a:cxn ang="0">
                  <a:pos x="749" y="892"/>
                </a:cxn>
                <a:cxn ang="0">
                  <a:pos x="752" y="956"/>
                </a:cxn>
                <a:cxn ang="0">
                  <a:pos x="742" y="1012"/>
                </a:cxn>
                <a:cxn ang="0">
                  <a:pos x="717" y="1055"/>
                </a:cxn>
                <a:cxn ang="0">
                  <a:pos x="683" y="1087"/>
                </a:cxn>
                <a:cxn ang="0">
                  <a:pos x="630" y="1114"/>
                </a:cxn>
                <a:cxn ang="0">
                  <a:pos x="532" y="1134"/>
                </a:cxn>
                <a:cxn ang="0">
                  <a:pos x="238" y="1137"/>
                </a:cxn>
              </a:cxnLst>
              <a:rect l="0" t="0" r="r" b="b"/>
              <a:pathLst>
                <a:path w="992" h="1342">
                  <a:moveTo>
                    <a:pt x="238" y="204"/>
                  </a:moveTo>
                  <a:lnTo>
                    <a:pt x="436" y="204"/>
                  </a:lnTo>
                  <a:lnTo>
                    <a:pt x="436" y="204"/>
                  </a:lnTo>
                  <a:lnTo>
                    <a:pt x="469" y="204"/>
                  </a:lnTo>
                  <a:lnTo>
                    <a:pt x="499" y="206"/>
                  </a:lnTo>
                  <a:lnTo>
                    <a:pt x="527" y="210"/>
                  </a:lnTo>
                  <a:lnTo>
                    <a:pt x="553" y="214"/>
                  </a:lnTo>
                  <a:lnTo>
                    <a:pt x="577" y="221"/>
                  </a:lnTo>
                  <a:lnTo>
                    <a:pt x="597" y="228"/>
                  </a:lnTo>
                  <a:lnTo>
                    <a:pt x="616" y="237"/>
                  </a:lnTo>
                  <a:lnTo>
                    <a:pt x="634" y="247"/>
                  </a:lnTo>
                  <a:lnTo>
                    <a:pt x="648" y="258"/>
                  </a:lnTo>
                  <a:lnTo>
                    <a:pt x="661" y="271"/>
                  </a:lnTo>
                  <a:lnTo>
                    <a:pt x="667" y="278"/>
                  </a:lnTo>
                  <a:lnTo>
                    <a:pt x="672" y="285"/>
                  </a:lnTo>
                  <a:lnTo>
                    <a:pt x="681" y="301"/>
                  </a:lnTo>
                  <a:lnTo>
                    <a:pt x="688" y="317"/>
                  </a:lnTo>
                  <a:lnTo>
                    <a:pt x="692" y="336"/>
                  </a:lnTo>
                  <a:lnTo>
                    <a:pt x="695" y="355"/>
                  </a:lnTo>
                  <a:lnTo>
                    <a:pt x="696" y="376"/>
                  </a:lnTo>
                  <a:lnTo>
                    <a:pt x="696" y="376"/>
                  </a:lnTo>
                  <a:lnTo>
                    <a:pt x="695" y="395"/>
                  </a:lnTo>
                  <a:lnTo>
                    <a:pt x="692" y="413"/>
                  </a:lnTo>
                  <a:lnTo>
                    <a:pt x="688" y="429"/>
                  </a:lnTo>
                  <a:lnTo>
                    <a:pt x="681" y="446"/>
                  </a:lnTo>
                  <a:lnTo>
                    <a:pt x="672" y="460"/>
                  </a:lnTo>
                  <a:lnTo>
                    <a:pt x="662" y="474"/>
                  </a:lnTo>
                  <a:lnTo>
                    <a:pt x="650" y="486"/>
                  </a:lnTo>
                  <a:lnTo>
                    <a:pt x="636" y="499"/>
                  </a:lnTo>
                  <a:lnTo>
                    <a:pt x="620" y="509"/>
                  </a:lnTo>
                  <a:lnTo>
                    <a:pt x="602" y="518"/>
                  </a:lnTo>
                  <a:lnTo>
                    <a:pt x="583" y="526"/>
                  </a:lnTo>
                  <a:lnTo>
                    <a:pt x="561" y="533"/>
                  </a:lnTo>
                  <a:lnTo>
                    <a:pt x="538" y="538"/>
                  </a:lnTo>
                  <a:lnTo>
                    <a:pt x="513" y="542"/>
                  </a:lnTo>
                  <a:lnTo>
                    <a:pt x="486" y="544"/>
                  </a:lnTo>
                  <a:lnTo>
                    <a:pt x="457" y="545"/>
                  </a:lnTo>
                  <a:lnTo>
                    <a:pt x="238" y="545"/>
                  </a:lnTo>
                  <a:lnTo>
                    <a:pt x="238" y="204"/>
                  </a:lnTo>
                  <a:close/>
                  <a:moveTo>
                    <a:pt x="0" y="1342"/>
                  </a:moveTo>
                  <a:lnTo>
                    <a:pt x="484" y="1342"/>
                  </a:lnTo>
                  <a:lnTo>
                    <a:pt x="484" y="1342"/>
                  </a:lnTo>
                  <a:lnTo>
                    <a:pt x="531" y="1341"/>
                  </a:lnTo>
                  <a:lnTo>
                    <a:pt x="579" y="1338"/>
                  </a:lnTo>
                  <a:lnTo>
                    <a:pt x="602" y="1335"/>
                  </a:lnTo>
                  <a:lnTo>
                    <a:pt x="625" y="1332"/>
                  </a:lnTo>
                  <a:lnTo>
                    <a:pt x="648" y="1328"/>
                  </a:lnTo>
                  <a:lnTo>
                    <a:pt x="670" y="1323"/>
                  </a:lnTo>
                  <a:lnTo>
                    <a:pt x="693" y="1318"/>
                  </a:lnTo>
                  <a:lnTo>
                    <a:pt x="714" y="1312"/>
                  </a:lnTo>
                  <a:lnTo>
                    <a:pt x="736" y="1305"/>
                  </a:lnTo>
                  <a:lnTo>
                    <a:pt x="756" y="1298"/>
                  </a:lnTo>
                  <a:lnTo>
                    <a:pt x="776" y="1290"/>
                  </a:lnTo>
                  <a:lnTo>
                    <a:pt x="796" y="1281"/>
                  </a:lnTo>
                  <a:lnTo>
                    <a:pt x="815" y="1271"/>
                  </a:lnTo>
                  <a:lnTo>
                    <a:pt x="833" y="1260"/>
                  </a:lnTo>
                  <a:lnTo>
                    <a:pt x="851" y="1248"/>
                  </a:lnTo>
                  <a:lnTo>
                    <a:pt x="867" y="1236"/>
                  </a:lnTo>
                  <a:lnTo>
                    <a:pt x="883" y="1223"/>
                  </a:lnTo>
                  <a:lnTo>
                    <a:pt x="899" y="1208"/>
                  </a:lnTo>
                  <a:lnTo>
                    <a:pt x="912" y="1193"/>
                  </a:lnTo>
                  <a:lnTo>
                    <a:pt x="925" y="1177"/>
                  </a:lnTo>
                  <a:lnTo>
                    <a:pt x="937" y="1161"/>
                  </a:lnTo>
                  <a:lnTo>
                    <a:pt x="949" y="1142"/>
                  </a:lnTo>
                  <a:lnTo>
                    <a:pt x="959" y="1123"/>
                  </a:lnTo>
                  <a:lnTo>
                    <a:pt x="967" y="1102"/>
                  </a:lnTo>
                  <a:lnTo>
                    <a:pt x="975" y="1081"/>
                  </a:lnTo>
                  <a:lnTo>
                    <a:pt x="981" y="1059"/>
                  </a:lnTo>
                  <a:lnTo>
                    <a:pt x="985" y="1036"/>
                  </a:lnTo>
                  <a:lnTo>
                    <a:pt x="989" y="1011"/>
                  </a:lnTo>
                  <a:lnTo>
                    <a:pt x="991" y="985"/>
                  </a:lnTo>
                  <a:lnTo>
                    <a:pt x="992" y="959"/>
                  </a:lnTo>
                  <a:lnTo>
                    <a:pt x="992" y="959"/>
                  </a:lnTo>
                  <a:lnTo>
                    <a:pt x="992" y="943"/>
                  </a:lnTo>
                  <a:lnTo>
                    <a:pt x="990" y="927"/>
                  </a:lnTo>
                  <a:lnTo>
                    <a:pt x="989" y="911"/>
                  </a:lnTo>
                  <a:lnTo>
                    <a:pt x="986" y="896"/>
                  </a:lnTo>
                  <a:lnTo>
                    <a:pt x="983" y="881"/>
                  </a:lnTo>
                  <a:lnTo>
                    <a:pt x="980" y="866"/>
                  </a:lnTo>
                  <a:lnTo>
                    <a:pt x="975" y="852"/>
                  </a:lnTo>
                  <a:lnTo>
                    <a:pt x="971" y="838"/>
                  </a:lnTo>
                  <a:lnTo>
                    <a:pt x="965" y="824"/>
                  </a:lnTo>
                  <a:lnTo>
                    <a:pt x="959" y="811"/>
                  </a:lnTo>
                  <a:lnTo>
                    <a:pt x="953" y="798"/>
                  </a:lnTo>
                  <a:lnTo>
                    <a:pt x="944" y="786"/>
                  </a:lnTo>
                  <a:lnTo>
                    <a:pt x="937" y="774"/>
                  </a:lnTo>
                  <a:lnTo>
                    <a:pt x="928" y="761"/>
                  </a:lnTo>
                  <a:lnTo>
                    <a:pt x="920" y="750"/>
                  </a:lnTo>
                  <a:lnTo>
                    <a:pt x="910" y="739"/>
                  </a:lnTo>
                  <a:lnTo>
                    <a:pt x="901" y="729"/>
                  </a:lnTo>
                  <a:lnTo>
                    <a:pt x="890" y="719"/>
                  </a:lnTo>
                  <a:lnTo>
                    <a:pt x="879" y="709"/>
                  </a:lnTo>
                  <a:lnTo>
                    <a:pt x="868" y="700"/>
                  </a:lnTo>
                  <a:lnTo>
                    <a:pt x="856" y="691"/>
                  </a:lnTo>
                  <a:lnTo>
                    <a:pt x="844" y="683"/>
                  </a:lnTo>
                  <a:lnTo>
                    <a:pt x="831" y="676"/>
                  </a:lnTo>
                  <a:lnTo>
                    <a:pt x="818" y="669"/>
                  </a:lnTo>
                  <a:lnTo>
                    <a:pt x="805" y="663"/>
                  </a:lnTo>
                  <a:lnTo>
                    <a:pt x="792" y="656"/>
                  </a:lnTo>
                  <a:lnTo>
                    <a:pt x="777" y="651"/>
                  </a:lnTo>
                  <a:lnTo>
                    <a:pt x="762" y="646"/>
                  </a:lnTo>
                  <a:lnTo>
                    <a:pt x="748" y="642"/>
                  </a:lnTo>
                  <a:lnTo>
                    <a:pt x="733" y="639"/>
                  </a:lnTo>
                  <a:lnTo>
                    <a:pt x="717" y="636"/>
                  </a:lnTo>
                  <a:lnTo>
                    <a:pt x="702" y="634"/>
                  </a:lnTo>
                  <a:lnTo>
                    <a:pt x="702" y="631"/>
                  </a:lnTo>
                  <a:lnTo>
                    <a:pt x="702" y="631"/>
                  </a:lnTo>
                  <a:lnTo>
                    <a:pt x="727" y="622"/>
                  </a:lnTo>
                  <a:lnTo>
                    <a:pt x="752" y="613"/>
                  </a:lnTo>
                  <a:lnTo>
                    <a:pt x="774" y="601"/>
                  </a:lnTo>
                  <a:lnTo>
                    <a:pt x="797" y="588"/>
                  </a:lnTo>
                  <a:lnTo>
                    <a:pt x="817" y="575"/>
                  </a:lnTo>
                  <a:lnTo>
                    <a:pt x="836" y="560"/>
                  </a:lnTo>
                  <a:lnTo>
                    <a:pt x="854" y="542"/>
                  </a:lnTo>
                  <a:lnTo>
                    <a:pt x="870" y="525"/>
                  </a:lnTo>
                  <a:lnTo>
                    <a:pt x="885" y="506"/>
                  </a:lnTo>
                  <a:lnTo>
                    <a:pt x="898" y="485"/>
                  </a:lnTo>
                  <a:lnTo>
                    <a:pt x="909" y="464"/>
                  </a:lnTo>
                  <a:lnTo>
                    <a:pt x="918" y="441"/>
                  </a:lnTo>
                  <a:lnTo>
                    <a:pt x="925" y="416"/>
                  </a:lnTo>
                  <a:lnTo>
                    <a:pt x="931" y="391"/>
                  </a:lnTo>
                  <a:lnTo>
                    <a:pt x="934" y="364"/>
                  </a:lnTo>
                  <a:lnTo>
                    <a:pt x="935" y="337"/>
                  </a:lnTo>
                  <a:lnTo>
                    <a:pt x="935" y="337"/>
                  </a:lnTo>
                  <a:lnTo>
                    <a:pt x="934" y="314"/>
                  </a:lnTo>
                  <a:lnTo>
                    <a:pt x="932" y="293"/>
                  </a:lnTo>
                  <a:lnTo>
                    <a:pt x="930" y="271"/>
                  </a:lnTo>
                  <a:lnTo>
                    <a:pt x="926" y="252"/>
                  </a:lnTo>
                  <a:lnTo>
                    <a:pt x="921" y="233"/>
                  </a:lnTo>
                  <a:lnTo>
                    <a:pt x="915" y="214"/>
                  </a:lnTo>
                  <a:lnTo>
                    <a:pt x="908" y="197"/>
                  </a:lnTo>
                  <a:lnTo>
                    <a:pt x="900" y="181"/>
                  </a:lnTo>
                  <a:lnTo>
                    <a:pt x="890" y="165"/>
                  </a:lnTo>
                  <a:lnTo>
                    <a:pt x="880" y="150"/>
                  </a:lnTo>
                  <a:lnTo>
                    <a:pt x="870" y="136"/>
                  </a:lnTo>
                  <a:lnTo>
                    <a:pt x="859" y="122"/>
                  </a:lnTo>
                  <a:lnTo>
                    <a:pt x="847" y="110"/>
                  </a:lnTo>
                  <a:lnTo>
                    <a:pt x="833" y="97"/>
                  </a:lnTo>
                  <a:lnTo>
                    <a:pt x="819" y="86"/>
                  </a:lnTo>
                  <a:lnTo>
                    <a:pt x="805" y="76"/>
                  </a:lnTo>
                  <a:lnTo>
                    <a:pt x="791" y="67"/>
                  </a:lnTo>
                  <a:lnTo>
                    <a:pt x="775" y="58"/>
                  </a:lnTo>
                  <a:lnTo>
                    <a:pt x="759" y="49"/>
                  </a:lnTo>
                  <a:lnTo>
                    <a:pt x="743" y="41"/>
                  </a:lnTo>
                  <a:lnTo>
                    <a:pt x="726" y="34"/>
                  </a:lnTo>
                  <a:lnTo>
                    <a:pt x="709" y="28"/>
                  </a:lnTo>
                  <a:lnTo>
                    <a:pt x="691" y="22"/>
                  </a:lnTo>
                  <a:lnTo>
                    <a:pt x="673" y="18"/>
                  </a:lnTo>
                  <a:lnTo>
                    <a:pt x="655" y="13"/>
                  </a:lnTo>
                  <a:lnTo>
                    <a:pt x="637" y="10"/>
                  </a:lnTo>
                  <a:lnTo>
                    <a:pt x="618" y="6"/>
                  </a:lnTo>
                  <a:lnTo>
                    <a:pt x="599" y="4"/>
                  </a:lnTo>
                  <a:lnTo>
                    <a:pt x="561" y="1"/>
                  </a:lnTo>
                  <a:lnTo>
                    <a:pt x="524" y="0"/>
                  </a:lnTo>
                  <a:lnTo>
                    <a:pt x="0" y="0"/>
                  </a:lnTo>
                  <a:lnTo>
                    <a:pt x="0" y="1342"/>
                  </a:lnTo>
                  <a:close/>
                  <a:moveTo>
                    <a:pt x="238" y="750"/>
                  </a:moveTo>
                  <a:lnTo>
                    <a:pt x="468" y="750"/>
                  </a:lnTo>
                  <a:lnTo>
                    <a:pt x="468" y="750"/>
                  </a:lnTo>
                  <a:lnTo>
                    <a:pt x="503" y="751"/>
                  </a:lnTo>
                  <a:lnTo>
                    <a:pt x="536" y="752"/>
                  </a:lnTo>
                  <a:lnTo>
                    <a:pt x="566" y="755"/>
                  </a:lnTo>
                  <a:lnTo>
                    <a:pt x="594" y="760"/>
                  </a:lnTo>
                  <a:lnTo>
                    <a:pt x="620" y="765"/>
                  </a:lnTo>
                  <a:lnTo>
                    <a:pt x="643" y="774"/>
                  </a:lnTo>
                  <a:lnTo>
                    <a:pt x="664" y="782"/>
                  </a:lnTo>
                  <a:lnTo>
                    <a:pt x="674" y="787"/>
                  </a:lnTo>
                  <a:lnTo>
                    <a:pt x="683" y="792"/>
                  </a:lnTo>
                  <a:lnTo>
                    <a:pt x="692" y="798"/>
                  </a:lnTo>
                  <a:lnTo>
                    <a:pt x="700" y="804"/>
                  </a:lnTo>
                  <a:lnTo>
                    <a:pt x="707" y="811"/>
                  </a:lnTo>
                  <a:lnTo>
                    <a:pt x="714" y="818"/>
                  </a:lnTo>
                  <a:lnTo>
                    <a:pt x="720" y="825"/>
                  </a:lnTo>
                  <a:lnTo>
                    <a:pt x="725" y="834"/>
                  </a:lnTo>
                  <a:lnTo>
                    <a:pt x="731" y="842"/>
                  </a:lnTo>
                  <a:lnTo>
                    <a:pt x="736" y="851"/>
                  </a:lnTo>
                  <a:lnTo>
                    <a:pt x="740" y="860"/>
                  </a:lnTo>
                  <a:lnTo>
                    <a:pt x="743" y="870"/>
                  </a:lnTo>
                  <a:lnTo>
                    <a:pt x="746" y="880"/>
                  </a:lnTo>
                  <a:lnTo>
                    <a:pt x="749" y="892"/>
                  </a:lnTo>
                  <a:lnTo>
                    <a:pt x="752" y="915"/>
                  </a:lnTo>
                  <a:lnTo>
                    <a:pt x="753" y="940"/>
                  </a:lnTo>
                  <a:lnTo>
                    <a:pt x="753" y="940"/>
                  </a:lnTo>
                  <a:lnTo>
                    <a:pt x="752" y="956"/>
                  </a:lnTo>
                  <a:lnTo>
                    <a:pt x="751" y="971"/>
                  </a:lnTo>
                  <a:lnTo>
                    <a:pt x="749" y="985"/>
                  </a:lnTo>
                  <a:lnTo>
                    <a:pt x="746" y="999"/>
                  </a:lnTo>
                  <a:lnTo>
                    <a:pt x="742" y="1012"/>
                  </a:lnTo>
                  <a:lnTo>
                    <a:pt x="737" y="1024"/>
                  </a:lnTo>
                  <a:lnTo>
                    <a:pt x="731" y="1035"/>
                  </a:lnTo>
                  <a:lnTo>
                    <a:pt x="724" y="1045"/>
                  </a:lnTo>
                  <a:lnTo>
                    <a:pt x="717" y="1055"/>
                  </a:lnTo>
                  <a:lnTo>
                    <a:pt x="709" y="1064"/>
                  </a:lnTo>
                  <a:lnTo>
                    <a:pt x="701" y="1072"/>
                  </a:lnTo>
                  <a:lnTo>
                    <a:pt x="693" y="1080"/>
                  </a:lnTo>
                  <a:lnTo>
                    <a:pt x="683" y="1087"/>
                  </a:lnTo>
                  <a:lnTo>
                    <a:pt x="673" y="1093"/>
                  </a:lnTo>
                  <a:lnTo>
                    <a:pt x="663" y="1099"/>
                  </a:lnTo>
                  <a:lnTo>
                    <a:pt x="652" y="1105"/>
                  </a:lnTo>
                  <a:lnTo>
                    <a:pt x="630" y="1114"/>
                  </a:lnTo>
                  <a:lnTo>
                    <a:pt x="606" y="1121"/>
                  </a:lnTo>
                  <a:lnTo>
                    <a:pt x="582" y="1127"/>
                  </a:lnTo>
                  <a:lnTo>
                    <a:pt x="557" y="1131"/>
                  </a:lnTo>
                  <a:lnTo>
                    <a:pt x="532" y="1134"/>
                  </a:lnTo>
                  <a:lnTo>
                    <a:pt x="507" y="1136"/>
                  </a:lnTo>
                  <a:lnTo>
                    <a:pt x="483" y="1137"/>
                  </a:lnTo>
                  <a:lnTo>
                    <a:pt x="458" y="1137"/>
                  </a:lnTo>
                  <a:lnTo>
                    <a:pt x="238" y="1137"/>
                  </a:lnTo>
                  <a:lnTo>
                    <a:pt x="238" y="7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26"/>
            <p:cNvSpPr>
              <a:spLocks noChangeArrowheads="1"/>
            </p:cNvSpPr>
            <p:nvPr/>
          </p:nvSpPr>
          <p:spPr bwMode="auto">
            <a:xfrm>
              <a:off x="1033463" y="4995863"/>
              <a:ext cx="180975" cy="109061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7"/>
            <p:cNvSpPr>
              <a:spLocks noEditPoints="1"/>
            </p:cNvSpPr>
            <p:nvPr/>
          </p:nvSpPr>
          <p:spPr bwMode="auto">
            <a:xfrm>
              <a:off x="1335088" y="5346700"/>
              <a:ext cx="785812" cy="758825"/>
            </a:xfrm>
            <a:custGeom>
              <a:avLst/>
              <a:gdLst/>
              <a:ahLst/>
              <a:cxnLst>
                <a:cxn ang="0">
                  <a:pos x="444" y="2"/>
                </a:cxn>
                <a:cxn ang="0">
                  <a:pos x="348" y="19"/>
                </a:cxn>
                <a:cxn ang="0">
                  <a:pos x="259" y="53"/>
                </a:cxn>
                <a:cxn ang="0">
                  <a:pos x="180" y="102"/>
                </a:cxn>
                <a:cxn ang="0">
                  <a:pos x="112" y="164"/>
                </a:cxn>
                <a:cxn ang="0">
                  <a:pos x="59" y="240"/>
                </a:cxn>
                <a:cxn ang="0">
                  <a:pos x="23" y="327"/>
                </a:cxn>
                <a:cxn ang="0">
                  <a:pos x="3" y="425"/>
                </a:cxn>
                <a:cxn ang="0">
                  <a:pos x="1" y="504"/>
                </a:cxn>
                <a:cxn ang="0">
                  <a:pos x="16" y="605"/>
                </a:cxn>
                <a:cxn ang="0">
                  <a:pos x="49" y="694"/>
                </a:cxn>
                <a:cxn ang="0">
                  <a:pos x="98" y="773"/>
                </a:cxn>
                <a:cxn ang="0">
                  <a:pos x="162" y="839"/>
                </a:cxn>
                <a:cxn ang="0">
                  <a:pos x="238" y="892"/>
                </a:cxn>
                <a:cxn ang="0">
                  <a:pos x="324" y="929"/>
                </a:cxn>
                <a:cxn ang="0">
                  <a:pos x="420" y="950"/>
                </a:cxn>
                <a:cxn ang="0">
                  <a:pos x="495" y="955"/>
                </a:cxn>
                <a:cxn ang="0">
                  <a:pos x="596" y="947"/>
                </a:cxn>
                <a:cxn ang="0">
                  <a:pos x="689" y="922"/>
                </a:cxn>
                <a:cxn ang="0">
                  <a:pos x="774" y="880"/>
                </a:cxn>
                <a:cxn ang="0">
                  <a:pos x="846" y="824"/>
                </a:cxn>
                <a:cxn ang="0">
                  <a:pos x="907" y="755"/>
                </a:cxn>
                <a:cxn ang="0">
                  <a:pos x="952" y="673"/>
                </a:cxn>
                <a:cxn ang="0">
                  <a:pos x="980" y="580"/>
                </a:cxn>
                <a:cxn ang="0">
                  <a:pos x="991" y="478"/>
                </a:cxn>
                <a:cxn ang="0">
                  <a:pos x="985" y="399"/>
                </a:cxn>
                <a:cxn ang="0">
                  <a:pos x="961" y="304"/>
                </a:cxn>
                <a:cxn ang="0">
                  <a:pos x="919" y="220"/>
                </a:cxn>
                <a:cxn ang="0">
                  <a:pos x="862" y="148"/>
                </a:cxn>
                <a:cxn ang="0">
                  <a:pos x="793" y="88"/>
                </a:cxn>
                <a:cxn ang="0">
                  <a:pos x="711" y="43"/>
                </a:cxn>
                <a:cxn ang="0">
                  <a:pos x="620" y="13"/>
                </a:cxn>
                <a:cxn ang="0">
                  <a:pos x="521" y="0"/>
                </a:cxn>
                <a:cxn ang="0">
                  <a:pos x="495" y="751"/>
                </a:cxn>
                <a:cxn ang="0">
                  <a:pos x="436" y="745"/>
                </a:cxn>
                <a:cxn ang="0">
                  <a:pos x="383" y="728"/>
                </a:cxn>
                <a:cxn ang="0">
                  <a:pos x="338" y="702"/>
                </a:cxn>
                <a:cxn ang="0">
                  <a:pos x="299" y="668"/>
                </a:cxn>
                <a:cxn ang="0">
                  <a:pos x="268" y="626"/>
                </a:cxn>
                <a:cxn ang="0">
                  <a:pos x="233" y="531"/>
                </a:cxn>
                <a:cxn ang="0">
                  <a:pos x="230" y="451"/>
                </a:cxn>
                <a:cxn ang="0">
                  <a:pos x="256" y="351"/>
                </a:cxn>
                <a:cxn ang="0">
                  <a:pos x="291" y="297"/>
                </a:cxn>
                <a:cxn ang="0">
                  <a:pos x="327" y="262"/>
                </a:cxn>
                <a:cxn ang="0">
                  <a:pos x="371" y="233"/>
                </a:cxn>
                <a:cxn ang="0">
                  <a:pos x="422" y="214"/>
                </a:cxn>
                <a:cxn ang="0">
                  <a:pos x="480" y="205"/>
                </a:cxn>
                <a:cxn ang="0">
                  <a:pos x="526" y="206"/>
                </a:cxn>
                <a:cxn ang="0">
                  <a:pos x="582" y="218"/>
                </a:cxn>
                <a:cxn ang="0">
                  <a:pos x="632" y="239"/>
                </a:cxn>
                <a:cxn ang="0">
                  <a:pos x="674" y="270"/>
                </a:cxn>
                <a:cxn ang="0">
                  <a:pos x="708" y="308"/>
                </a:cxn>
                <a:cxn ang="0">
                  <a:pos x="745" y="375"/>
                </a:cxn>
                <a:cxn ang="0">
                  <a:pos x="763" y="478"/>
                </a:cxn>
                <a:cxn ang="0">
                  <a:pos x="752" y="556"/>
                </a:cxn>
                <a:cxn ang="0">
                  <a:pos x="716" y="637"/>
                </a:cxn>
                <a:cxn ang="0">
                  <a:pos x="683" y="677"/>
                </a:cxn>
                <a:cxn ang="0">
                  <a:pos x="643" y="710"/>
                </a:cxn>
                <a:cxn ang="0">
                  <a:pos x="595" y="733"/>
                </a:cxn>
                <a:cxn ang="0">
                  <a:pos x="541" y="747"/>
                </a:cxn>
                <a:cxn ang="0">
                  <a:pos x="495" y="751"/>
                </a:cxn>
              </a:cxnLst>
              <a:rect l="0" t="0" r="r" b="b"/>
              <a:pathLst>
                <a:path w="991" h="955">
                  <a:moveTo>
                    <a:pt x="495" y="0"/>
                  </a:moveTo>
                  <a:lnTo>
                    <a:pt x="495" y="0"/>
                  </a:lnTo>
                  <a:lnTo>
                    <a:pt x="470" y="0"/>
                  </a:lnTo>
                  <a:lnTo>
                    <a:pt x="444" y="2"/>
                  </a:lnTo>
                  <a:lnTo>
                    <a:pt x="420" y="5"/>
                  </a:lnTo>
                  <a:lnTo>
                    <a:pt x="396" y="8"/>
                  </a:lnTo>
                  <a:lnTo>
                    <a:pt x="371" y="13"/>
                  </a:lnTo>
                  <a:lnTo>
                    <a:pt x="348" y="19"/>
                  </a:lnTo>
                  <a:lnTo>
                    <a:pt x="324" y="26"/>
                  </a:lnTo>
                  <a:lnTo>
                    <a:pt x="302" y="35"/>
                  </a:lnTo>
                  <a:lnTo>
                    <a:pt x="280" y="43"/>
                  </a:lnTo>
                  <a:lnTo>
                    <a:pt x="259" y="53"/>
                  </a:lnTo>
                  <a:lnTo>
                    <a:pt x="238" y="64"/>
                  </a:lnTo>
                  <a:lnTo>
                    <a:pt x="218" y="75"/>
                  </a:lnTo>
                  <a:lnTo>
                    <a:pt x="199" y="88"/>
                  </a:lnTo>
                  <a:lnTo>
                    <a:pt x="180" y="102"/>
                  </a:lnTo>
                  <a:lnTo>
                    <a:pt x="162" y="116"/>
                  </a:lnTo>
                  <a:lnTo>
                    <a:pt x="145" y="131"/>
                  </a:lnTo>
                  <a:lnTo>
                    <a:pt x="129" y="148"/>
                  </a:lnTo>
                  <a:lnTo>
                    <a:pt x="112" y="164"/>
                  </a:lnTo>
                  <a:lnTo>
                    <a:pt x="98" y="182"/>
                  </a:lnTo>
                  <a:lnTo>
                    <a:pt x="85" y="201"/>
                  </a:lnTo>
                  <a:lnTo>
                    <a:pt x="72" y="220"/>
                  </a:lnTo>
                  <a:lnTo>
                    <a:pt x="59" y="240"/>
                  </a:lnTo>
                  <a:lnTo>
                    <a:pt x="49" y="261"/>
                  </a:lnTo>
                  <a:lnTo>
                    <a:pt x="39" y="282"/>
                  </a:lnTo>
                  <a:lnTo>
                    <a:pt x="30" y="304"/>
                  </a:lnTo>
                  <a:lnTo>
                    <a:pt x="23" y="327"/>
                  </a:lnTo>
                  <a:lnTo>
                    <a:pt x="16" y="350"/>
                  </a:lnTo>
                  <a:lnTo>
                    <a:pt x="10" y="375"/>
                  </a:lnTo>
                  <a:lnTo>
                    <a:pt x="6" y="399"/>
                  </a:lnTo>
                  <a:lnTo>
                    <a:pt x="3" y="425"/>
                  </a:lnTo>
                  <a:lnTo>
                    <a:pt x="1" y="451"/>
                  </a:lnTo>
                  <a:lnTo>
                    <a:pt x="0" y="478"/>
                  </a:lnTo>
                  <a:lnTo>
                    <a:pt x="0" y="478"/>
                  </a:lnTo>
                  <a:lnTo>
                    <a:pt x="1" y="504"/>
                  </a:lnTo>
                  <a:lnTo>
                    <a:pt x="3" y="531"/>
                  </a:lnTo>
                  <a:lnTo>
                    <a:pt x="6" y="556"/>
                  </a:lnTo>
                  <a:lnTo>
                    <a:pt x="10" y="580"/>
                  </a:lnTo>
                  <a:lnTo>
                    <a:pt x="16" y="605"/>
                  </a:lnTo>
                  <a:lnTo>
                    <a:pt x="23" y="628"/>
                  </a:lnTo>
                  <a:lnTo>
                    <a:pt x="30" y="651"/>
                  </a:lnTo>
                  <a:lnTo>
                    <a:pt x="39" y="673"/>
                  </a:lnTo>
                  <a:lnTo>
                    <a:pt x="49" y="694"/>
                  </a:lnTo>
                  <a:lnTo>
                    <a:pt x="59" y="716"/>
                  </a:lnTo>
                  <a:lnTo>
                    <a:pt x="72" y="735"/>
                  </a:lnTo>
                  <a:lnTo>
                    <a:pt x="85" y="755"/>
                  </a:lnTo>
                  <a:lnTo>
                    <a:pt x="98" y="773"/>
                  </a:lnTo>
                  <a:lnTo>
                    <a:pt x="112" y="791"/>
                  </a:lnTo>
                  <a:lnTo>
                    <a:pt x="129" y="808"/>
                  </a:lnTo>
                  <a:lnTo>
                    <a:pt x="145" y="824"/>
                  </a:lnTo>
                  <a:lnTo>
                    <a:pt x="162" y="839"/>
                  </a:lnTo>
                  <a:lnTo>
                    <a:pt x="180" y="853"/>
                  </a:lnTo>
                  <a:lnTo>
                    <a:pt x="199" y="868"/>
                  </a:lnTo>
                  <a:lnTo>
                    <a:pt x="218" y="880"/>
                  </a:lnTo>
                  <a:lnTo>
                    <a:pt x="238" y="892"/>
                  </a:lnTo>
                  <a:lnTo>
                    <a:pt x="259" y="902"/>
                  </a:lnTo>
                  <a:lnTo>
                    <a:pt x="280" y="912"/>
                  </a:lnTo>
                  <a:lnTo>
                    <a:pt x="302" y="922"/>
                  </a:lnTo>
                  <a:lnTo>
                    <a:pt x="324" y="929"/>
                  </a:lnTo>
                  <a:lnTo>
                    <a:pt x="348" y="936"/>
                  </a:lnTo>
                  <a:lnTo>
                    <a:pt x="371" y="942"/>
                  </a:lnTo>
                  <a:lnTo>
                    <a:pt x="396" y="947"/>
                  </a:lnTo>
                  <a:lnTo>
                    <a:pt x="420" y="950"/>
                  </a:lnTo>
                  <a:lnTo>
                    <a:pt x="444" y="953"/>
                  </a:lnTo>
                  <a:lnTo>
                    <a:pt x="470" y="955"/>
                  </a:lnTo>
                  <a:lnTo>
                    <a:pt x="495" y="955"/>
                  </a:lnTo>
                  <a:lnTo>
                    <a:pt x="495" y="955"/>
                  </a:lnTo>
                  <a:lnTo>
                    <a:pt x="521" y="955"/>
                  </a:lnTo>
                  <a:lnTo>
                    <a:pt x="546" y="953"/>
                  </a:lnTo>
                  <a:lnTo>
                    <a:pt x="572" y="950"/>
                  </a:lnTo>
                  <a:lnTo>
                    <a:pt x="596" y="947"/>
                  </a:lnTo>
                  <a:lnTo>
                    <a:pt x="620" y="942"/>
                  </a:lnTo>
                  <a:lnTo>
                    <a:pt x="643" y="936"/>
                  </a:lnTo>
                  <a:lnTo>
                    <a:pt x="667" y="929"/>
                  </a:lnTo>
                  <a:lnTo>
                    <a:pt x="689" y="922"/>
                  </a:lnTo>
                  <a:lnTo>
                    <a:pt x="711" y="912"/>
                  </a:lnTo>
                  <a:lnTo>
                    <a:pt x="733" y="902"/>
                  </a:lnTo>
                  <a:lnTo>
                    <a:pt x="753" y="892"/>
                  </a:lnTo>
                  <a:lnTo>
                    <a:pt x="774" y="880"/>
                  </a:lnTo>
                  <a:lnTo>
                    <a:pt x="793" y="868"/>
                  </a:lnTo>
                  <a:lnTo>
                    <a:pt x="811" y="853"/>
                  </a:lnTo>
                  <a:lnTo>
                    <a:pt x="830" y="839"/>
                  </a:lnTo>
                  <a:lnTo>
                    <a:pt x="846" y="824"/>
                  </a:lnTo>
                  <a:lnTo>
                    <a:pt x="862" y="808"/>
                  </a:lnTo>
                  <a:lnTo>
                    <a:pt x="879" y="791"/>
                  </a:lnTo>
                  <a:lnTo>
                    <a:pt x="893" y="773"/>
                  </a:lnTo>
                  <a:lnTo>
                    <a:pt x="907" y="755"/>
                  </a:lnTo>
                  <a:lnTo>
                    <a:pt x="919" y="735"/>
                  </a:lnTo>
                  <a:lnTo>
                    <a:pt x="931" y="716"/>
                  </a:lnTo>
                  <a:lnTo>
                    <a:pt x="942" y="694"/>
                  </a:lnTo>
                  <a:lnTo>
                    <a:pt x="952" y="673"/>
                  </a:lnTo>
                  <a:lnTo>
                    <a:pt x="961" y="651"/>
                  </a:lnTo>
                  <a:lnTo>
                    <a:pt x="968" y="628"/>
                  </a:lnTo>
                  <a:lnTo>
                    <a:pt x="975" y="605"/>
                  </a:lnTo>
                  <a:lnTo>
                    <a:pt x="980" y="580"/>
                  </a:lnTo>
                  <a:lnTo>
                    <a:pt x="985" y="556"/>
                  </a:lnTo>
                  <a:lnTo>
                    <a:pt x="989" y="531"/>
                  </a:lnTo>
                  <a:lnTo>
                    <a:pt x="990" y="504"/>
                  </a:lnTo>
                  <a:lnTo>
                    <a:pt x="991" y="478"/>
                  </a:lnTo>
                  <a:lnTo>
                    <a:pt x="991" y="478"/>
                  </a:lnTo>
                  <a:lnTo>
                    <a:pt x="990" y="451"/>
                  </a:lnTo>
                  <a:lnTo>
                    <a:pt x="989" y="425"/>
                  </a:lnTo>
                  <a:lnTo>
                    <a:pt x="985" y="399"/>
                  </a:lnTo>
                  <a:lnTo>
                    <a:pt x="980" y="375"/>
                  </a:lnTo>
                  <a:lnTo>
                    <a:pt x="975" y="350"/>
                  </a:lnTo>
                  <a:lnTo>
                    <a:pt x="968" y="327"/>
                  </a:lnTo>
                  <a:lnTo>
                    <a:pt x="961" y="304"/>
                  </a:lnTo>
                  <a:lnTo>
                    <a:pt x="952" y="282"/>
                  </a:lnTo>
                  <a:lnTo>
                    <a:pt x="942" y="261"/>
                  </a:lnTo>
                  <a:lnTo>
                    <a:pt x="931" y="240"/>
                  </a:lnTo>
                  <a:lnTo>
                    <a:pt x="919" y="220"/>
                  </a:lnTo>
                  <a:lnTo>
                    <a:pt x="907" y="201"/>
                  </a:lnTo>
                  <a:lnTo>
                    <a:pt x="893" y="182"/>
                  </a:lnTo>
                  <a:lnTo>
                    <a:pt x="879" y="164"/>
                  </a:lnTo>
                  <a:lnTo>
                    <a:pt x="862" y="148"/>
                  </a:lnTo>
                  <a:lnTo>
                    <a:pt x="846" y="131"/>
                  </a:lnTo>
                  <a:lnTo>
                    <a:pt x="830" y="116"/>
                  </a:lnTo>
                  <a:lnTo>
                    <a:pt x="811" y="102"/>
                  </a:lnTo>
                  <a:lnTo>
                    <a:pt x="793" y="88"/>
                  </a:lnTo>
                  <a:lnTo>
                    <a:pt x="774" y="75"/>
                  </a:lnTo>
                  <a:lnTo>
                    <a:pt x="753" y="64"/>
                  </a:lnTo>
                  <a:lnTo>
                    <a:pt x="733" y="53"/>
                  </a:lnTo>
                  <a:lnTo>
                    <a:pt x="711" y="43"/>
                  </a:lnTo>
                  <a:lnTo>
                    <a:pt x="689" y="35"/>
                  </a:lnTo>
                  <a:lnTo>
                    <a:pt x="667" y="26"/>
                  </a:lnTo>
                  <a:lnTo>
                    <a:pt x="643" y="19"/>
                  </a:lnTo>
                  <a:lnTo>
                    <a:pt x="620" y="13"/>
                  </a:lnTo>
                  <a:lnTo>
                    <a:pt x="596" y="8"/>
                  </a:lnTo>
                  <a:lnTo>
                    <a:pt x="572" y="5"/>
                  </a:lnTo>
                  <a:lnTo>
                    <a:pt x="546" y="2"/>
                  </a:lnTo>
                  <a:lnTo>
                    <a:pt x="521" y="0"/>
                  </a:lnTo>
                  <a:lnTo>
                    <a:pt x="495" y="0"/>
                  </a:lnTo>
                  <a:lnTo>
                    <a:pt x="495" y="0"/>
                  </a:lnTo>
                  <a:close/>
                  <a:moveTo>
                    <a:pt x="495" y="751"/>
                  </a:moveTo>
                  <a:lnTo>
                    <a:pt x="495" y="751"/>
                  </a:lnTo>
                  <a:lnTo>
                    <a:pt x="480" y="751"/>
                  </a:lnTo>
                  <a:lnTo>
                    <a:pt x="465" y="749"/>
                  </a:lnTo>
                  <a:lnTo>
                    <a:pt x="451" y="747"/>
                  </a:lnTo>
                  <a:lnTo>
                    <a:pt x="436" y="745"/>
                  </a:lnTo>
                  <a:lnTo>
                    <a:pt x="422" y="741"/>
                  </a:lnTo>
                  <a:lnTo>
                    <a:pt x="409" y="738"/>
                  </a:lnTo>
                  <a:lnTo>
                    <a:pt x="396" y="733"/>
                  </a:lnTo>
                  <a:lnTo>
                    <a:pt x="383" y="728"/>
                  </a:lnTo>
                  <a:lnTo>
                    <a:pt x="371" y="723"/>
                  </a:lnTo>
                  <a:lnTo>
                    <a:pt x="360" y="716"/>
                  </a:lnTo>
                  <a:lnTo>
                    <a:pt x="348" y="710"/>
                  </a:lnTo>
                  <a:lnTo>
                    <a:pt x="338" y="702"/>
                  </a:lnTo>
                  <a:lnTo>
                    <a:pt x="327" y="694"/>
                  </a:lnTo>
                  <a:lnTo>
                    <a:pt x="317" y="685"/>
                  </a:lnTo>
                  <a:lnTo>
                    <a:pt x="308" y="677"/>
                  </a:lnTo>
                  <a:lnTo>
                    <a:pt x="299" y="668"/>
                  </a:lnTo>
                  <a:lnTo>
                    <a:pt x="291" y="658"/>
                  </a:lnTo>
                  <a:lnTo>
                    <a:pt x="282" y="648"/>
                  </a:lnTo>
                  <a:lnTo>
                    <a:pt x="275" y="637"/>
                  </a:lnTo>
                  <a:lnTo>
                    <a:pt x="268" y="626"/>
                  </a:lnTo>
                  <a:lnTo>
                    <a:pt x="256" y="604"/>
                  </a:lnTo>
                  <a:lnTo>
                    <a:pt x="246" y="580"/>
                  </a:lnTo>
                  <a:lnTo>
                    <a:pt x="239" y="556"/>
                  </a:lnTo>
                  <a:lnTo>
                    <a:pt x="233" y="531"/>
                  </a:lnTo>
                  <a:lnTo>
                    <a:pt x="230" y="504"/>
                  </a:lnTo>
                  <a:lnTo>
                    <a:pt x="227" y="478"/>
                  </a:lnTo>
                  <a:lnTo>
                    <a:pt x="227" y="478"/>
                  </a:lnTo>
                  <a:lnTo>
                    <a:pt x="230" y="451"/>
                  </a:lnTo>
                  <a:lnTo>
                    <a:pt x="233" y="425"/>
                  </a:lnTo>
                  <a:lnTo>
                    <a:pt x="239" y="399"/>
                  </a:lnTo>
                  <a:lnTo>
                    <a:pt x="246" y="375"/>
                  </a:lnTo>
                  <a:lnTo>
                    <a:pt x="256" y="351"/>
                  </a:lnTo>
                  <a:lnTo>
                    <a:pt x="268" y="329"/>
                  </a:lnTo>
                  <a:lnTo>
                    <a:pt x="275" y="318"/>
                  </a:lnTo>
                  <a:lnTo>
                    <a:pt x="282" y="308"/>
                  </a:lnTo>
                  <a:lnTo>
                    <a:pt x="291" y="297"/>
                  </a:lnTo>
                  <a:lnTo>
                    <a:pt x="299" y="288"/>
                  </a:lnTo>
                  <a:lnTo>
                    <a:pt x="308" y="279"/>
                  </a:lnTo>
                  <a:lnTo>
                    <a:pt x="317" y="270"/>
                  </a:lnTo>
                  <a:lnTo>
                    <a:pt x="327" y="262"/>
                  </a:lnTo>
                  <a:lnTo>
                    <a:pt x="338" y="254"/>
                  </a:lnTo>
                  <a:lnTo>
                    <a:pt x="348" y="246"/>
                  </a:lnTo>
                  <a:lnTo>
                    <a:pt x="360" y="239"/>
                  </a:lnTo>
                  <a:lnTo>
                    <a:pt x="371" y="233"/>
                  </a:lnTo>
                  <a:lnTo>
                    <a:pt x="383" y="227"/>
                  </a:lnTo>
                  <a:lnTo>
                    <a:pt x="396" y="222"/>
                  </a:lnTo>
                  <a:lnTo>
                    <a:pt x="409" y="218"/>
                  </a:lnTo>
                  <a:lnTo>
                    <a:pt x="422" y="214"/>
                  </a:lnTo>
                  <a:lnTo>
                    <a:pt x="436" y="211"/>
                  </a:lnTo>
                  <a:lnTo>
                    <a:pt x="451" y="208"/>
                  </a:lnTo>
                  <a:lnTo>
                    <a:pt x="465" y="206"/>
                  </a:lnTo>
                  <a:lnTo>
                    <a:pt x="480" y="205"/>
                  </a:lnTo>
                  <a:lnTo>
                    <a:pt x="495" y="205"/>
                  </a:lnTo>
                  <a:lnTo>
                    <a:pt x="495" y="205"/>
                  </a:lnTo>
                  <a:lnTo>
                    <a:pt x="511" y="205"/>
                  </a:lnTo>
                  <a:lnTo>
                    <a:pt x="526" y="206"/>
                  </a:lnTo>
                  <a:lnTo>
                    <a:pt x="541" y="208"/>
                  </a:lnTo>
                  <a:lnTo>
                    <a:pt x="555" y="211"/>
                  </a:lnTo>
                  <a:lnTo>
                    <a:pt x="569" y="214"/>
                  </a:lnTo>
                  <a:lnTo>
                    <a:pt x="582" y="218"/>
                  </a:lnTo>
                  <a:lnTo>
                    <a:pt x="595" y="222"/>
                  </a:lnTo>
                  <a:lnTo>
                    <a:pt x="608" y="227"/>
                  </a:lnTo>
                  <a:lnTo>
                    <a:pt x="620" y="233"/>
                  </a:lnTo>
                  <a:lnTo>
                    <a:pt x="632" y="239"/>
                  </a:lnTo>
                  <a:lnTo>
                    <a:pt x="643" y="246"/>
                  </a:lnTo>
                  <a:lnTo>
                    <a:pt x="653" y="254"/>
                  </a:lnTo>
                  <a:lnTo>
                    <a:pt x="664" y="262"/>
                  </a:lnTo>
                  <a:lnTo>
                    <a:pt x="674" y="270"/>
                  </a:lnTo>
                  <a:lnTo>
                    <a:pt x="683" y="279"/>
                  </a:lnTo>
                  <a:lnTo>
                    <a:pt x="692" y="288"/>
                  </a:lnTo>
                  <a:lnTo>
                    <a:pt x="700" y="297"/>
                  </a:lnTo>
                  <a:lnTo>
                    <a:pt x="708" y="308"/>
                  </a:lnTo>
                  <a:lnTo>
                    <a:pt x="716" y="318"/>
                  </a:lnTo>
                  <a:lnTo>
                    <a:pt x="723" y="329"/>
                  </a:lnTo>
                  <a:lnTo>
                    <a:pt x="735" y="351"/>
                  </a:lnTo>
                  <a:lnTo>
                    <a:pt x="745" y="375"/>
                  </a:lnTo>
                  <a:lnTo>
                    <a:pt x="752" y="399"/>
                  </a:lnTo>
                  <a:lnTo>
                    <a:pt x="758" y="425"/>
                  </a:lnTo>
                  <a:lnTo>
                    <a:pt x="761" y="451"/>
                  </a:lnTo>
                  <a:lnTo>
                    <a:pt x="763" y="478"/>
                  </a:lnTo>
                  <a:lnTo>
                    <a:pt x="763" y="478"/>
                  </a:lnTo>
                  <a:lnTo>
                    <a:pt x="761" y="504"/>
                  </a:lnTo>
                  <a:lnTo>
                    <a:pt x="758" y="531"/>
                  </a:lnTo>
                  <a:lnTo>
                    <a:pt x="752" y="556"/>
                  </a:lnTo>
                  <a:lnTo>
                    <a:pt x="745" y="580"/>
                  </a:lnTo>
                  <a:lnTo>
                    <a:pt x="735" y="604"/>
                  </a:lnTo>
                  <a:lnTo>
                    <a:pt x="723" y="626"/>
                  </a:lnTo>
                  <a:lnTo>
                    <a:pt x="716" y="637"/>
                  </a:lnTo>
                  <a:lnTo>
                    <a:pt x="708" y="648"/>
                  </a:lnTo>
                  <a:lnTo>
                    <a:pt x="700" y="658"/>
                  </a:lnTo>
                  <a:lnTo>
                    <a:pt x="692" y="668"/>
                  </a:lnTo>
                  <a:lnTo>
                    <a:pt x="683" y="677"/>
                  </a:lnTo>
                  <a:lnTo>
                    <a:pt x="674" y="685"/>
                  </a:lnTo>
                  <a:lnTo>
                    <a:pt x="664" y="694"/>
                  </a:lnTo>
                  <a:lnTo>
                    <a:pt x="653" y="702"/>
                  </a:lnTo>
                  <a:lnTo>
                    <a:pt x="643" y="710"/>
                  </a:lnTo>
                  <a:lnTo>
                    <a:pt x="632" y="716"/>
                  </a:lnTo>
                  <a:lnTo>
                    <a:pt x="620" y="723"/>
                  </a:lnTo>
                  <a:lnTo>
                    <a:pt x="608" y="728"/>
                  </a:lnTo>
                  <a:lnTo>
                    <a:pt x="595" y="733"/>
                  </a:lnTo>
                  <a:lnTo>
                    <a:pt x="582" y="738"/>
                  </a:lnTo>
                  <a:lnTo>
                    <a:pt x="569" y="741"/>
                  </a:lnTo>
                  <a:lnTo>
                    <a:pt x="555" y="745"/>
                  </a:lnTo>
                  <a:lnTo>
                    <a:pt x="541" y="747"/>
                  </a:lnTo>
                  <a:lnTo>
                    <a:pt x="526" y="749"/>
                  </a:lnTo>
                  <a:lnTo>
                    <a:pt x="511" y="751"/>
                  </a:lnTo>
                  <a:lnTo>
                    <a:pt x="495" y="751"/>
                  </a:lnTo>
                  <a:lnTo>
                    <a:pt x="495" y="7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8"/>
            <p:cNvSpPr>
              <a:spLocks noEditPoints="1"/>
            </p:cNvSpPr>
            <p:nvPr/>
          </p:nvSpPr>
          <p:spPr bwMode="auto">
            <a:xfrm>
              <a:off x="2203450" y="5346700"/>
              <a:ext cx="785812" cy="758825"/>
            </a:xfrm>
            <a:custGeom>
              <a:avLst/>
              <a:gdLst/>
              <a:ahLst/>
              <a:cxnLst>
                <a:cxn ang="0">
                  <a:pos x="445" y="2"/>
                </a:cxn>
                <a:cxn ang="0">
                  <a:pos x="348" y="19"/>
                </a:cxn>
                <a:cxn ang="0">
                  <a:pos x="259" y="53"/>
                </a:cxn>
                <a:cxn ang="0">
                  <a:pos x="180" y="102"/>
                </a:cxn>
                <a:cxn ang="0">
                  <a:pos x="114" y="164"/>
                </a:cxn>
                <a:cxn ang="0">
                  <a:pos x="60" y="240"/>
                </a:cxn>
                <a:cxn ang="0">
                  <a:pos x="23" y="327"/>
                </a:cxn>
                <a:cxn ang="0">
                  <a:pos x="4" y="425"/>
                </a:cxn>
                <a:cxn ang="0">
                  <a:pos x="2" y="504"/>
                </a:cxn>
                <a:cxn ang="0">
                  <a:pos x="16" y="605"/>
                </a:cxn>
                <a:cxn ang="0">
                  <a:pos x="49" y="694"/>
                </a:cxn>
                <a:cxn ang="0">
                  <a:pos x="98" y="773"/>
                </a:cxn>
                <a:cxn ang="0">
                  <a:pos x="162" y="839"/>
                </a:cxn>
                <a:cxn ang="0">
                  <a:pos x="239" y="892"/>
                </a:cxn>
                <a:cxn ang="0">
                  <a:pos x="326" y="929"/>
                </a:cxn>
                <a:cxn ang="0">
                  <a:pos x="420" y="950"/>
                </a:cxn>
                <a:cxn ang="0">
                  <a:pos x="496" y="955"/>
                </a:cxn>
                <a:cxn ang="0">
                  <a:pos x="597" y="947"/>
                </a:cxn>
                <a:cxn ang="0">
                  <a:pos x="689" y="922"/>
                </a:cxn>
                <a:cxn ang="0">
                  <a:pos x="774" y="880"/>
                </a:cxn>
                <a:cxn ang="0">
                  <a:pos x="847" y="824"/>
                </a:cxn>
                <a:cxn ang="0">
                  <a:pos x="907" y="755"/>
                </a:cxn>
                <a:cxn ang="0">
                  <a:pos x="952" y="673"/>
                </a:cxn>
                <a:cxn ang="0">
                  <a:pos x="981" y="580"/>
                </a:cxn>
                <a:cxn ang="0">
                  <a:pos x="991" y="478"/>
                </a:cxn>
                <a:cxn ang="0">
                  <a:pos x="986" y="399"/>
                </a:cxn>
                <a:cxn ang="0">
                  <a:pos x="961" y="304"/>
                </a:cxn>
                <a:cxn ang="0">
                  <a:pos x="919" y="220"/>
                </a:cxn>
                <a:cxn ang="0">
                  <a:pos x="863" y="148"/>
                </a:cxn>
                <a:cxn ang="0">
                  <a:pos x="793" y="88"/>
                </a:cxn>
                <a:cxn ang="0">
                  <a:pos x="712" y="43"/>
                </a:cxn>
                <a:cxn ang="0">
                  <a:pos x="620" y="13"/>
                </a:cxn>
                <a:cxn ang="0">
                  <a:pos x="522" y="0"/>
                </a:cxn>
                <a:cxn ang="0">
                  <a:pos x="496" y="751"/>
                </a:cxn>
                <a:cxn ang="0">
                  <a:pos x="437" y="745"/>
                </a:cxn>
                <a:cxn ang="0">
                  <a:pos x="384" y="728"/>
                </a:cxn>
                <a:cxn ang="0">
                  <a:pos x="338" y="702"/>
                </a:cxn>
                <a:cxn ang="0">
                  <a:pos x="300" y="668"/>
                </a:cxn>
                <a:cxn ang="0">
                  <a:pos x="269" y="626"/>
                </a:cxn>
                <a:cxn ang="0">
                  <a:pos x="233" y="531"/>
                </a:cxn>
                <a:cxn ang="0">
                  <a:pos x="230" y="451"/>
                </a:cxn>
                <a:cxn ang="0">
                  <a:pos x="257" y="351"/>
                </a:cxn>
                <a:cxn ang="0">
                  <a:pos x="291" y="297"/>
                </a:cxn>
                <a:cxn ang="0">
                  <a:pos x="328" y="262"/>
                </a:cxn>
                <a:cxn ang="0">
                  <a:pos x="371" y="233"/>
                </a:cxn>
                <a:cxn ang="0">
                  <a:pos x="422" y="214"/>
                </a:cxn>
                <a:cxn ang="0">
                  <a:pos x="480" y="205"/>
                </a:cxn>
                <a:cxn ang="0">
                  <a:pos x="526" y="206"/>
                </a:cxn>
                <a:cxn ang="0">
                  <a:pos x="582" y="218"/>
                </a:cxn>
                <a:cxn ang="0">
                  <a:pos x="632" y="239"/>
                </a:cxn>
                <a:cxn ang="0">
                  <a:pos x="674" y="270"/>
                </a:cxn>
                <a:cxn ang="0">
                  <a:pos x="709" y="308"/>
                </a:cxn>
                <a:cxn ang="0">
                  <a:pos x="745" y="375"/>
                </a:cxn>
                <a:cxn ang="0">
                  <a:pos x="764" y="478"/>
                </a:cxn>
                <a:cxn ang="0">
                  <a:pos x="753" y="556"/>
                </a:cxn>
                <a:cxn ang="0">
                  <a:pos x="716" y="637"/>
                </a:cxn>
                <a:cxn ang="0">
                  <a:pos x="683" y="677"/>
                </a:cxn>
                <a:cxn ang="0">
                  <a:pos x="643" y="710"/>
                </a:cxn>
                <a:cxn ang="0">
                  <a:pos x="595" y="733"/>
                </a:cxn>
                <a:cxn ang="0">
                  <a:pos x="542" y="747"/>
                </a:cxn>
                <a:cxn ang="0">
                  <a:pos x="496" y="751"/>
                </a:cxn>
              </a:cxnLst>
              <a:rect l="0" t="0" r="r" b="b"/>
              <a:pathLst>
                <a:path w="991" h="955">
                  <a:moveTo>
                    <a:pt x="496" y="0"/>
                  </a:moveTo>
                  <a:lnTo>
                    <a:pt x="496" y="0"/>
                  </a:lnTo>
                  <a:lnTo>
                    <a:pt x="470" y="0"/>
                  </a:lnTo>
                  <a:lnTo>
                    <a:pt x="445" y="2"/>
                  </a:lnTo>
                  <a:lnTo>
                    <a:pt x="420" y="5"/>
                  </a:lnTo>
                  <a:lnTo>
                    <a:pt x="396" y="8"/>
                  </a:lnTo>
                  <a:lnTo>
                    <a:pt x="371" y="13"/>
                  </a:lnTo>
                  <a:lnTo>
                    <a:pt x="348" y="19"/>
                  </a:lnTo>
                  <a:lnTo>
                    <a:pt x="326" y="26"/>
                  </a:lnTo>
                  <a:lnTo>
                    <a:pt x="302" y="35"/>
                  </a:lnTo>
                  <a:lnTo>
                    <a:pt x="281" y="43"/>
                  </a:lnTo>
                  <a:lnTo>
                    <a:pt x="259" y="53"/>
                  </a:lnTo>
                  <a:lnTo>
                    <a:pt x="239" y="64"/>
                  </a:lnTo>
                  <a:lnTo>
                    <a:pt x="219" y="75"/>
                  </a:lnTo>
                  <a:lnTo>
                    <a:pt x="199" y="88"/>
                  </a:lnTo>
                  <a:lnTo>
                    <a:pt x="180" y="102"/>
                  </a:lnTo>
                  <a:lnTo>
                    <a:pt x="162" y="116"/>
                  </a:lnTo>
                  <a:lnTo>
                    <a:pt x="145" y="131"/>
                  </a:lnTo>
                  <a:lnTo>
                    <a:pt x="129" y="148"/>
                  </a:lnTo>
                  <a:lnTo>
                    <a:pt x="114" y="164"/>
                  </a:lnTo>
                  <a:lnTo>
                    <a:pt x="98" y="182"/>
                  </a:lnTo>
                  <a:lnTo>
                    <a:pt x="85" y="201"/>
                  </a:lnTo>
                  <a:lnTo>
                    <a:pt x="72" y="220"/>
                  </a:lnTo>
                  <a:lnTo>
                    <a:pt x="60" y="240"/>
                  </a:lnTo>
                  <a:lnTo>
                    <a:pt x="49" y="261"/>
                  </a:lnTo>
                  <a:lnTo>
                    <a:pt x="39" y="282"/>
                  </a:lnTo>
                  <a:lnTo>
                    <a:pt x="30" y="304"/>
                  </a:lnTo>
                  <a:lnTo>
                    <a:pt x="23" y="327"/>
                  </a:lnTo>
                  <a:lnTo>
                    <a:pt x="16" y="350"/>
                  </a:lnTo>
                  <a:lnTo>
                    <a:pt x="11" y="375"/>
                  </a:lnTo>
                  <a:lnTo>
                    <a:pt x="7" y="399"/>
                  </a:lnTo>
                  <a:lnTo>
                    <a:pt x="4" y="425"/>
                  </a:lnTo>
                  <a:lnTo>
                    <a:pt x="2" y="451"/>
                  </a:lnTo>
                  <a:lnTo>
                    <a:pt x="0" y="478"/>
                  </a:lnTo>
                  <a:lnTo>
                    <a:pt x="0" y="478"/>
                  </a:lnTo>
                  <a:lnTo>
                    <a:pt x="2" y="504"/>
                  </a:lnTo>
                  <a:lnTo>
                    <a:pt x="4" y="531"/>
                  </a:lnTo>
                  <a:lnTo>
                    <a:pt x="7" y="556"/>
                  </a:lnTo>
                  <a:lnTo>
                    <a:pt x="11" y="580"/>
                  </a:lnTo>
                  <a:lnTo>
                    <a:pt x="16" y="605"/>
                  </a:lnTo>
                  <a:lnTo>
                    <a:pt x="23" y="628"/>
                  </a:lnTo>
                  <a:lnTo>
                    <a:pt x="30" y="651"/>
                  </a:lnTo>
                  <a:lnTo>
                    <a:pt x="39" y="673"/>
                  </a:lnTo>
                  <a:lnTo>
                    <a:pt x="49" y="694"/>
                  </a:lnTo>
                  <a:lnTo>
                    <a:pt x="60" y="716"/>
                  </a:lnTo>
                  <a:lnTo>
                    <a:pt x="72" y="735"/>
                  </a:lnTo>
                  <a:lnTo>
                    <a:pt x="85" y="755"/>
                  </a:lnTo>
                  <a:lnTo>
                    <a:pt x="98" y="773"/>
                  </a:lnTo>
                  <a:lnTo>
                    <a:pt x="114" y="791"/>
                  </a:lnTo>
                  <a:lnTo>
                    <a:pt x="129" y="808"/>
                  </a:lnTo>
                  <a:lnTo>
                    <a:pt x="145" y="824"/>
                  </a:lnTo>
                  <a:lnTo>
                    <a:pt x="162" y="839"/>
                  </a:lnTo>
                  <a:lnTo>
                    <a:pt x="180" y="853"/>
                  </a:lnTo>
                  <a:lnTo>
                    <a:pt x="199" y="868"/>
                  </a:lnTo>
                  <a:lnTo>
                    <a:pt x="219" y="880"/>
                  </a:lnTo>
                  <a:lnTo>
                    <a:pt x="239" y="892"/>
                  </a:lnTo>
                  <a:lnTo>
                    <a:pt x="259" y="902"/>
                  </a:lnTo>
                  <a:lnTo>
                    <a:pt x="281" y="912"/>
                  </a:lnTo>
                  <a:lnTo>
                    <a:pt x="302" y="922"/>
                  </a:lnTo>
                  <a:lnTo>
                    <a:pt x="326" y="929"/>
                  </a:lnTo>
                  <a:lnTo>
                    <a:pt x="348" y="936"/>
                  </a:lnTo>
                  <a:lnTo>
                    <a:pt x="371" y="942"/>
                  </a:lnTo>
                  <a:lnTo>
                    <a:pt x="396" y="947"/>
                  </a:lnTo>
                  <a:lnTo>
                    <a:pt x="420" y="950"/>
                  </a:lnTo>
                  <a:lnTo>
                    <a:pt x="445" y="953"/>
                  </a:lnTo>
                  <a:lnTo>
                    <a:pt x="470" y="955"/>
                  </a:lnTo>
                  <a:lnTo>
                    <a:pt x="496" y="955"/>
                  </a:lnTo>
                  <a:lnTo>
                    <a:pt x="496" y="955"/>
                  </a:lnTo>
                  <a:lnTo>
                    <a:pt x="522" y="955"/>
                  </a:lnTo>
                  <a:lnTo>
                    <a:pt x="547" y="953"/>
                  </a:lnTo>
                  <a:lnTo>
                    <a:pt x="572" y="950"/>
                  </a:lnTo>
                  <a:lnTo>
                    <a:pt x="597" y="947"/>
                  </a:lnTo>
                  <a:lnTo>
                    <a:pt x="620" y="942"/>
                  </a:lnTo>
                  <a:lnTo>
                    <a:pt x="643" y="936"/>
                  </a:lnTo>
                  <a:lnTo>
                    <a:pt x="667" y="929"/>
                  </a:lnTo>
                  <a:lnTo>
                    <a:pt x="689" y="922"/>
                  </a:lnTo>
                  <a:lnTo>
                    <a:pt x="712" y="912"/>
                  </a:lnTo>
                  <a:lnTo>
                    <a:pt x="733" y="902"/>
                  </a:lnTo>
                  <a:lnTo>
                    <a:pt x="753" y="892"/>
                  </a:lnTo>
                  <a:lnTo>
                    <a:pt x="774" y="880"/>
                  </a:lnTo>
                  <a:lnTo>
                    <a:pt x="793" y="868"/>
                  </a:lnTo>
                  <a:lnTo>
                    <a:pt x="811" y="853"/>
                  </a:lnTo>
                  <a:lnTo>
                    <a:pt x="830" y="839"/>
                  </a:lnTo>
                  <a:lnTo>
                    <a:pt x="847" y="824"/>
                  </a:lnTo>
                  <a:lnTo>
                    <a:pt x="863" y="808"/>
                  </a:lnTo>
                  <a:lnTo>
                    <a:pt x="879" y="791"/>
                  </a:lnTo>
                  <a:lnTo>
                    <a:pt x="893" y="773"/>
                  </a:lnTo>
                  <a:lnTo>
                    <a:pt x="907" y="755"/>
                  </a:lnTo>
                  <a:lnTo>
                    <a:pt x="919" y="735"/>
                  </a:lnTo>
                  <a:lnTo>
                    <a:pt x="932" y="716"/>
                  </a:lnTo>
                  <a:lnTo>
                    <a:pt x="943" y="694"/>
                  </a:lnTo>
                  <a:lnTo>
                    <a:pt x="952" y="673"/>
                  </a:lnTo>
                  <a:lnTo>
                    <a:pt x="961" y="651"/>
                  </a:lnTo>
                  <a:lnTo>
                    <a:pt x="969" y="628"/>
                  </a:lnTo>
                  <a:lnTo>
                    <a:pt x="976" y="605"/>
                  </a:lnTo>
                  <a:lnTo>
                    <a:pt x="981" y="580"/>
                  </a:lnTo>
                  <a:lnTo>
                    <a:pt x="986" y="556"/>
                  </a:lnTo>
                  <a:lnTo>
                    <a:pt x="989" y="531"/>
                  </a:lnTo>
                  <a:lnTo>
                    <a:pt x="991" y="504"/>
                  </a:lnTo>
                  <a:lnTo>
                    <a:pt x="991" y="478"/>
                  </a:lnTo>
                  <a:lnTo>
                    <a:pt x="991" y="478"/>
                  </a:lnTo>
                  <a:lnTo>
                    <a:pt x="991" y="451"/>
                  </a:lnTo>
                  <a:lnTo>
                    <a:pt x="989" y="425"/>
                  </a:lnTo>
                  <a:lnTo>
                    <a:pt x="986" y="399"/>
                  </a:lnTo>
                  <a:lnTo>
                    <a:pt x="981" y="375"/>
                  </a:lnTo>
                  <a:lnTo>
                    <a:pt x="976" y="350"/>
                  </a:lnTo>
                  <a:lnTo>
                    <a:pt x="969" y="327"/>
                  </a:lnTo>
                  <a:lnTo>
                    <a:pt x="961" y="304"/>
                  </a:lnTo>
                  <a:lnTo>
                    <a:pt x="952" y="282"/>
                  </a:lnTo>
                  <a:lnTo>
                    <a:pt x="943" y="261"/>
                  </a:lnTo>
                  <a:lnTo>
                    <a:pt x="932" y="240"/>
                  </a:lnTo>
                  <a:lnTo>
                    <a:pt x="919" y="220"/>
                  </a:lnTo>
                  <a:lnTo>
                    <a:pt x="907" y="201"/>
                  </a:lnTo>
                  <a:lnTo>
                    <a:pt x="893" y="182"/>
                  </a:lnTo>
                  <a:lnTo>
                    <a:pt x="879" y="164"/>
                  </a:lnTo>
                  <a:lnTo>
                    <a:pt x="863" y="148"/>
                  </a:lnTo>
                  <a:lnTo>
                    <a:pt x="847" y="131"/>
                  </a:lnTo>
                  <a:lnTo>
                    <a:pt x="830" y="116"/>
                  </a:lnTo>
                  <a:lnTo>
                    <a:pt x="811" y="102"/>
                  </a:lnTo>
                  <a:lnTo>
                    <a:pt x="793" y="88"/>
                  </a:lnTo>
                  <a:lnTo>
                    <a:pt x="774" y="75"/>
                  </a:lnTo>
                  <a:lnTo>
                    <a:pt x="753" y="64"/>
                  </a:lnTo>
                  <a:lnTo>
                    <a:pt x="733" y="53"/>
                  </a:lnTo>
                  <a:lnTo>
                    <a:pt x="712" y="43"/>
                  </a:lnTo>
                  <a:lnTo>
                    <a:pt x="689" y="35"/>
                  </a:lnTo>
                  <a:lnTo>
                    <a:pt x="667" y="26"/>
                  </a:lnTo>
                  <a:lnTo>
                    <a:pt x="643" y="19"/>
                  </a:lnTo>
                  <a:lnTo>
                    <a:pt x="620" y="13"/>
                  </a:lnTo>
                  <a:lnTo>
                    <a:pt x="597" y="8"/>
                  </a:lnTo>
                  <a:lnTo>
                    <a:pt x="572" y="5"/>
                  </a:lnTo>
                  <a:lnTo>
                    <a:pt x="547" y="2"/>
                  </a:lnTo>
                  <a:lnTo>
                    <a:pt x="522" y="0"/>
                  </a:lnTo>
                  <a:lnTo>
                    <a:pt x="496" y="0"/>
                  </a:lnTo>
                  <a:lnTo>
                    <a:pt x="496" y="0"/>
                  </a:lnTo>
                  <a:close/>
                  <a:moveTo>
                    <a:pt x="496" y="751"/>
                  </a:moveTo>
                  <a:lnTo>
                    <a:pt x="496" y="751"/>
                  </a:lnTo>
                  <a:lnTo>
                    <a:pt x="480" y="751"/>
                  </a:lnTo>
                  <a:lnTo>
                    <a:pt x="465" y="749"/>
                  </a:lnTo>
                  <a:lnTo>
                    <a:pt x="451" y="747"/>
                  </a:lnTo>
                  <a:lnTo>
                    <a:pt x="437" y="745"/>
                  </a:lnTo>
                  <a:lnTo>
                    <a:pt x="422" y="741"/>
                  </a:lnTo>
                  <a:lnTo>
                    <a:pt x="409" y="738"/>
                  </a:lnTo>
                  <a:lnTo>
                    <a:pt x="396" y="733"/>
                  </a:lnTo>
                  <a:lnTo>
                    <a:pt x="384" y="728"/>
                  </a:lnTo>
                  <a:lnTo>
                    <a:pt x="371" y="723"/>
                  </a:lnTo>
                  <a:lnTo>
                    <a:pt x="360" y="716"/>
                  </a:lnTo>
                  <a:lnTo>
                    <a:pt x="349" y="710"/>
                  </a:lnTo>
                  <a:lnTo>
                    <a:pt x="338" y="702"/>
                  </a:lnTo>
                  <a:lnTo>
                    <a:pt x="328" y="694"/>
                  </a:lnTo>
                  <a:lnTo>
                    <a:pt x="317" y="685"/>
                  </a:lnTo>
                  <a:lnTo>
                    <a:pt x="308" y="677"/>
                  </a:lnTo>
                  <a:lnTo>
                    <a:pt x="300" y="668"/>
                  </a:lnTo>
                  <a:lnTo>
                    <a:pt x="291" y="658"/>
                  </a:lnTo>
                  <a:lnTo>
                    <a:pt x="284" y="648"/>
                  </a:lnTo>
                  <a:lnTo>
                    <a:pt x="276" y="637"/>
                  </a:lnTo>
                  <a:lnTo>
                    <a:pt x="269" y="626"/>
                  </a:lnTo>
                  <a:lnTo>
                    <a:pt x="257" y="604"/>
                  </a:lnTo>
                  <a:lnTo>
                    <a:pt x="247" y="580"/>
                  </a:lnTo>
                  <a:lnTo>
                    <a:pt x="239" y="556"/>
                  </a:lnTo>
                  <a:lnTo>
                    <a:pt x="233" y="531"/>
                  </a:lnTo>
                  <a:lnTo>
                    <a:pt x="230" y="504"/>
                  </a:lnTo>
                  <a:lnTo>
                    <a:pt x="229" y="478"/>
                  </a:lnTo>
                  <a:lnTo>
                    <a:pt x="229" y="478"/>
                  </a:lnTo>
                  <a:lnTo>
                    <a:pt x="230" y="451"/>
                  </a:lnTo>
                  <a:lnTo>
                    <a:pt x="233" y="425"/>
                  </a:lnTo>
                  <a:lnTo>
                    <a:pt x="239" y="399"/>
                  </a:lnTo>
                  <a:lnTo>
                    <a:pt x="247" y="375"/>
                  </a:lnTo>
                  <a:lnTo>
                    <a:pt x="257" y="351"/>
                  </a:lnTo>
                  <a:lnTo>
                    <a:pt x="269" y="329"/>
                  </a:lnTo>
                  <a:lnTo>
                    <a:pt x="276" y="318"/>
                  </a:lnTo>
                  <a:lnTo>
                    <a:pt x="284" y="308"/>
                  </a:lnTo>
                  <a:lnTo>
                    <a:pt x="291" y="297"/>
                  </a:lnTo>
                  <a:lnTo>
                    <a:pt x="300" y="288"/>
                  </a:lnTo>
                  <a:lnTo>
                    <a:pt x="308" y="279"/>
                  </a:lnTo>
                  <a:lnTo>
                    <a:pt x="317" y="270"/>
                  </a:lnTo>
                  <a:lnTo>
                    <a:pt x="328" y="262"/>
                  </a:lnTo>
                  <a:lnTo>
                    <a:pt x="338" y="254"/>
                  </a:lnTo>
                  <a:lnTo>
                    <a:pt x="349" y="246"/>
                  </a:lnTo>
                  <a:lnTo>
                    <a:pt x="360" y="239"/>
                  </a:lnTo>
                  <a:lnTo>
                    <a:pt x="371" y="233"/>
                  </a:lnTo>
                  <a:lnTo>
                    <a:pt x="384" y="227"/>
                  </a:lnTo>
                  <a:lnTo>
                    <a:pt x="396" y="222"/>
                  </a:lnTo>
                  <a:lnTo>
                    <a:pt x="409" y="218"/>
                  </a:lnTo>
                  <a:lnTo>
                    <a:pt x="422" y="214"/>
                  </a:lnTo>
                  <a:lnTo>
                    <a:pt x="437" y="211"/>
                  </a:lnTo>
                  <a:lnTo>
                    <a:pt x="451" y="208"/>
                  </a:lnTo>
                  <a:lnTo>
                    <a:pt x="465" y="206"/>
                  </a:lnTo>
                  <a:lnTo>
                    <a:pt x="480" y="205"/>
                  </a:lnTo>
                  <a:lnTo>
                    <a:pt x="496" y="205"/>
                  </a:lnTo>
                  <a:lnTo>
                    <a:pt x="496" y="205"/>
                  </a:lnTo>
                  <a:lnTo>
                    <a:pt x="512" y="205"/>
                  </a:lnTo>
                  <a:lnTo>
                    <a:pt x="526" y="206"/>
                  </a:lnTo>
                  <a:lnTo>
                    <a:pt x="542" y="208"/>
                  </a:lnTo>
                  <a:lnTo>
                    <a:pt x="556" y="211"/>
                  </a:lnTo>
                  <a:lnTo>
                    <a:pt x="569" y="214"/>
                  </a:lnTo>
                  <a:lnTo>
                    <a:pt x="582" y="218"/>
                  </a:lnTo>
                  <a:lnTo>
                    <a:pt x="595" y="222"/>
                  </a:lnTo>
                  <a:lnTo>
                    <a:pt x="608" y="227"/>
                  </a:lnTo>
                  <a:lnTo>
                    <a:pt x="620" y="233"/>
                  </a:lnTo>
                  <a:lnTo>
                    <a:pt x="632" y="239"/>
                  </a:lnTo>
                  <a:lnTo>
                    <a:pt x="643" y="246"/>
                  </a:lnTo>
                  <a:lnTo>
                    <a:pt x="654" y="254"/>
                  </a:lnTo>
                  <a:lnTo>
                    <a:pt x="665" y="262"/>
                  </a:lnTo>
                  <a:lnTo>
                    <a:pt x="674" y="270"/>
                  </a:lnTo>
                  <a:lnTo>
                    <a:pt x="683" y="279"/>
                  </a:lnTo>
                  <a:lnTo>
                    <a:pt x="692" y="288"/>
                  </a:lnTo>
                  <a:lnTo>
                    <a:pt x="700" y="297"/>
                  </a:lnTo>
                  <a:lnTo>
                    <a:pt x="709" y="308"/>
                  </a:lnTo>
                  <a:lnTo>
                    <a:pt x="716" y="318"/>
                  </a:lnTo>
                  <a:lnTo>
                    <a:pt x="723" y="329"/>
                  </a:lnTo>
                  <a:lnTo>
                    <a:pt x="735" y="351"/>
                  </a:lnTo>
                  <a:lnTo>
                    <a:pt x="745" y="375"/>
                  </a:lnTo>
                  <a:lnTo>
                    <a:pt x="753" y="399"/>
                  </a:lnTo>
                  <a:lnTo>
                    <a:pt x="759" y="425"/>
                  </a:lnTo>
                  <a:lnTo>
                    <a:pt x="763" y="451"/>
                  </a:lnTo>
                  <a:lnTo>
                    <a:pt x="764" y="478"/>
                  </a:lnTo>
                  <a:lnTo>
                    <a:pt x="764" y="478"/>
                  </a:lnTo>
                  <a:lnTo>
                    <a:pt x="763" y="504"/>
                  </a:lnTo>
                  <a:lnTo>
                    <a:pt x="759" y="531"/>
                  </a:lnTo>
                  <a:lnTo>
                    <a:pt x="753" y="556"/>
                  </a:lnTo>
                  <a:lnTo>
                    <a:pt x="745" y="580"/>
                  </a:lnTo>
                  <a:lnTo>
                    <a:pt x="735" y="604"/>
                  </a:lnTo>
                  <a:lnTo>
                    <a:pt x="723" y="626"/>
                  </a:lnTo>
                  <a:lnTo>
                    <a:pt x="716" y="637"/>
                  </a:lnTo>
                  <a:lnTo>
                    <a:pt x="709" y="648"/>
                  </a:lnTo>
                  <a:lnTo>
                    <a:pt x="700" y="658"/>
                  </a:lnTo>
                  <a:lnTo>
                    <a:pt x="692" y="668"/>
                  </a:lnTo>
                  <a:lnTo>
                    <a:pt x="683" y="677"/>
                  </a:lnTo>
                  <a:lnTo>
                    <a:pt x="674" y="685"/>
                  </a:lnTo>
                  <a:lnTo>
                    <a:pt x="665" y="694"/>
                  </a:lnTo>
                  <a:lnTo>
                    <a:pt x="654" y="702"/>
                  </a:lnTo>
                  <a:lnTo>
                    <a:pt x="643" y="710"/>
                  </a:lnTo>
                  <a:lnTo>
                    <a:pt x="632" y="716"/>
                  </a:lnTo>
                  <a:lnTo>
                    <a:pt x="620" y="723"/>
                  </a:lnTo>
                  <a:lnTo>
                    <a:pt x="608" y="728"/>
                  </a:lnTo>
                  <a:lnTo>
                    <a:pt x="595" y="733"/>
                  </a:lnTo>
                  <a:lnTo>
                    <a:pt x="582" y="738"/>
                  </a:lnTo>
                  <a:lnTo>
                    <a:pt x="569" y="741"/>
                  </a:lnTo>
                  <a:lnTo>
                    <a:pt x="556" y="745"/>
                  </a:lnTo>
                  <a:lnTo>
                    <a:pt x="542" y="747"/>
                  </a:lnTo>
                  <a:lnTo>
                    <a:pt x="526" y="749"/>
                  </a:lnTo>
                  <a:lnTo>
                    <a:pt x="512" y="751"/>
                  </a:lnTo>
                  <a:lnTo>
                    <a:pt x="496" y="751"/>
                  </a:lnTo>
                  <a:lnTo>
                    <a:pt x="496" y="7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9"/>
            <p:cNvSpPr>
              <a:spLocks/>
            </p:cNvSpPr>
            <p:nvPr/>
          </p:nvSpPr>
          <p:spPr bwMode="auto">
            <a:xfrm>
              <a:off x="3100388" y="5346700"/>
              <a:ext cx="1120775" cy="739775"/>
            </a:xfrm>
            <a:custGeom>
              <a:avLst/>
              <a:gdLst/>
              <a:ahLst/>
              <a:cxnLst>
                <a:cxn ang="0">
                  <a:pos x="216" y="165"/>
                </a:cxn>
                <a:cxn ang="0">
                  <a:pos x="229" y="149"/>
                </a:cxn>
                <a:cxn ang="0">
                  <a:pos x="259" y="103"/>
                </a:cxn>
                <a:cxn ang="0">
                  <a:pos x="301" y="62"/>
                </a:cxn>
                <a:cxn ang="0">
                  <a:pos x="355" y="30"/>
                </a:cxn>
                <a:cxn ang="0">
                  <a:pos x="420" y="8"/>
                </a:cxn>
                <a:cxn ang="0">
                  <a:pos x="500" y="0"/>
                </a:cxn>
                <a:cxn ang="0">
                  <a:pos x="550" y="2"/>
                </a:cxn>
                <a:cxn ang="0">
                  <a:pos x="618" y="16"/>
                </a:cxn>
                <a:cxn ang="0">
                  <a:pos x="677" y="42"/>
                </a:cxn>
                <a:cxn ang="0">
                  <a:pos x="725" y="79"/>
                </a:cxn>
                <a:cxn ang="0">
                  <a:pos x="764" y="128"/>
                </a:cxn>
                <a:cxn ang="0">
                  <a:pos x="784" y="169"/>
                </a:cxn>
                <a:cxn ang="0">
                  <a:pos x="825" y="110"/>
                </a:cxn>
                <a:cxn ang="0">
                  <a:pos x="872" y="64"/>
                </a:cxn>
                <a:cxn ang="0">
                  <a:pos x="927" y="31"/>
                </a:cxn>
                <a:cxn ang="0">
                  <a:pos x="989" y="10"/>
                </a:cxn>
                <a:cxn ang="0">
                  <a:pos x="1059" y="0"/>
                </a:cxn>
                <a:cxn ang="0">
                  <a:pos x="1106" y="0"/>
                </a:cxn>
                <a:cxn ang="0">
                  <a:pos x="1168" y="7"/>
                </a:cxn>
                <a:cxn ang="0">
                  <a:pos x="1221" y="23"/>
                </a:cxn>
                <a:cxn ang="0">
                  <a:pos x="1268" y="47"/>
                </a:cxn>
                <a:cxn ang="0">
                  <a:pos x="1307" y="76"/>
                </a:cxn>
                <a:cxn ang="0">
                  <a:pos x="1339" y="113"/>
                </a:cxn>
                <a:cxn ang="0">
                  <a:pos x="1365" y="156"/>
                </a:cxn>
                <a:cxn ang="0">
                  <a:pos x="1385" y="203"/>
                </a:cxn>
                <a:cxn ang="0">
                  <a:pos x="1399" y="256"/>
                </a:cxn>
                <a:cxn ang="0">
                  <a:pos x="1408" y="311"/>
                </a:cxn>
                <a:cxn ang="0">
                  <a:pos x="1413" y="933"/>
                </a:cxn>
                <a:cxn ang="0">
                  <a:pos x="1184" y="417"/>
                </a:cxn>
                <a:cxn ang="0">
                  <a:pos x="1180" y="355"/>
                </a:cxn>
                <a:cxn ang="0">
                  <a:pos x="1167" y="299"/>
                </a:cxn>
                <a:cxn ang="0">
                  <a:pos x="1140" y="255"/>
                </a:cxn>
                <a:cxn ang="0">
                  <a:pos x="1107" y="226"/>
                </a:cxn>
                <a:cxn ang="0">
                  <a:pos x="1081" y="215"/>
                </a:cxn>
                <a:cxn ang="0">
                  <a:pos x="1051" y="207"/>
                </a:cxn>
                <a:cxn ang="0">
                  <a:pos x="1015" y="205"/>
                </a:cxn>
                <a:cxn ang="0">
                  <a:pos x="977" y="208"/>
                </a:cxn>
                <a:cxn ang="0">
                  <a:pos x="945" y="216"/>
                </a:cxn>
                <a:cxn ang="0">
                  <a:pos x="915" y="230"/>
                </a:cxn>
                <a:cxn ang="0">
                  <a:pos x="891" y="248"/>
                </a:cxn>
                <a:cxn ang="0">
                  <a:pos x="853" y="295"/>
                </a:cxn>
                <a:cxn ang="0">
                  <a:pos x="831" y="353"/>
                </a:cxn>
                <a:cxn ang="0">
                  <a:pos x="821" y="417"/>
                </a:cxn>
                <a:cxn ang="0">
                  <a:pos x="592" y="933"/>
                </a:cxn>
                <a:cxn ang="0">
                  <a:pos x="591" y="370"/>
                </a:cxn>
                <a:cxn ang="0">
                  <a:pos x="583" y="315"/>
                </a:cxn>
                <a:cxn ang="0">
                  <a:pos x="565" y="269"/>
                </a:cxn>
                <a:cxn ang="0">
                  <a:pos x="534" y="234"/>
                </a:cxn>
                <a:cxn ang="0">
                  <a:pos x="491" y="212"/>
                </a:cxn>
                <a:cxn ang="0">
                  <a:pos x="436" y="205"/>
                </a:cxn>
                <a:cxn ang="0">
                  <a:pos x="410" y="206"/>
                </a:cxn>
                <a:cxn ang="0">
                  <a:pos x="373" y="212"/>
                </a:cxn>
                <a:cxn ang="0">
                  <a:pos x="341" y="224"/>
                </a:cxn>
                <a:cxn ang="0">
                  <a:pos x="313" y="239"/>
                </a:cxn>
                <a:cxn ang="0">
                  <a:pos x="290" y="260"/>
                </a:cxn>
                <a:cxn ang="0">
                  <a:pos x="254" y="310"/>
                </a:cxn>
                <a:cxn ang="0">
                  <a:pos x="235" y="370"/>
                </a:cxn>
                <a:cxn ang="0">
                  <a:pos x="228" y="436"/>
                </a:cxn>
                <a:cxn ang="0">
                  <a:pos x="0" y="22"/>
                </a:cxn>
              </a:cxnLst>
              <a:rect l="0" t="0" r="r" b="b"/>
              <a:pathLst>
                <a:path w="1413" h="933">
                  <a:moveTo>
                    <a:pt x="0" y="22"/>
                  </a:moveTo>
                  <a:lnTo>
                    <a:pt x="216" y="22"/>
                  </a:lnTo>
                  <a:lnTo>
                    <a:pt x="216" y="165"/>
                  </a:lnTo>
                  <a:lnTo>
                    <a:pt x="220" y="165"/>
                  </a:lnTo>
                  <a:lnTo>
                    <a:pt x="220" y="165"/>
                  </a:lnTo>
                  <a:lnTo>
                    <a:pt x="229" y="149"/>
                  </a:lnTo>
                  <a:lnTo>
                    <a:pt x="238" y="133"/>
                  </a:lnTo>
                  <a:lnTo>
                    <a:pt x="248" y="118"/>
                  </a:lnTo>
                  <a:lnTo>
                    <a:pt x="259" y="103"/>
                  </a:lnTo>
                  <a:lnTo>
                    <a:pt x="272" y="89"/>
                  </a:lnTo>
                  <a:lnTo>
                    <a:pt x="286" y="75"/>
                  </a:lnTo>
                  <a:lnTo>
                    <a:pt x="301" y="62"/>
                  </a:lnTo>
                  <a:lnTo>
                    <a:pt x="318" y="50"/>
                  </a:lnTo>
                  <a:lnTo>
                    <a:pt x="336" y="40"/>
                  </a:lnTo>
                  <a:lnTo>
                    <a:pt x="355" y="30"/>
                  </a:lnTo>
                  <a:lnTo>
                    <a:pt x="375" y="20"/>
                  </a:lnTo>
                  <a:lnTo>
                    <a:pt x="398" y="13"/>
                  </a:lnTo>
                  <a:lnTo>
                    <a:pt x="420" y="8"/>
                  </a:lnTo>
                  <a:lnTo>
                    <a:pt x="446" y="3"/>
                  </a:lnTo>
                  <a:lnTo>
                    <a:pt x="472" y="1"/>
                  </a:lnTo>
                  <a:lnTo>
                    <a:pt x="500" y="0"/>
                  </a:lnTo>
                  <a:lnTo>
                    <a:pt x="500" y="0"/>
                  </a:lnTo>
                  <a:lnTo>
                    <a:pt x="525" y="0"/>
                  </a:lnTo>
                  <a:lnTo>
                    <a:pt x="550" y="2"/>
                  </a:lnTo>
                  <a:lnTo>
                    <a:pt x="574" y="5"/>
                  </a:lnTo>
                  <a:lnTo>
                    <a:pt x="596" y="10"/>
                  </a:lnTo>
                  <a:lnTo>
                    <a:pt x="618" y="16"/>
                  </a:lnTo>
                  <a:lnTo>
                    <a:pt x="638" y="23"/>
                  </a:lnTo>
                  <a:lnTo>
                    <a:pt x="659" y="32"/>
                  </a:lnTo>
                  <a:lnTo>
                    <a:pt x="677" y="42"/>
                  </a:lnTo>
                  <a:lnTo>
                    <a:pt x="694" y="53"/>
                  </a:lnTo>
                  <a:lnTo>
                    <a:pt x="711" y="65"/>
                  </a:lnTo>
                  <a:lnTo>
                    <a:pt x="725" y="79"/>
                  </a:lnTo>
                  <a:lnTo>
                    <a:pt x="739" y="95"/>
                  </a:lnTo>
                  <a:lnTo>
                    <a:pt x="752" y="111"/>
                  </a:lnTo>
                  <a:lnTo>
                    <a:pt x="764" y="128"/>
                  </a:lnTo>
                  <a:lnTo>
                    <a:pt x="775" y="148"/>
                  </a:lnTo>
                  <a:lnTo>
                    <a:pt x="784" y="169"/>
                  </a:lnTo>
                  <a:lnTo>
                    <a:pt x="784" y="169"/>
                  </a:lnTo>
                  <a:lnTo>
                    <a:pt x="797" y="148"/>
                  </a:lnTo>
                  <a:lnTo>
                    <a:pt x="810" y="128"/>
                  </a:lnTo>
                  <a:lnTo>
                    <a:pt x="825" y="110"/>
                  </a:lnTo>
                  <a:lnTo>
                    <a:pt x="840" y="94"/>
                  </a:lnTo>
                  <a:lnTo>
                    <a:pt x="855" y="78"/>
                  </a:lnTo>
                  <a:lnTo>
                    <a:pt x="872" y="64"/>
                  </a:lnTo>
                  <a:lnTo>
                    <a:pt x="890" y="52"/>
                  </a:lnTo>
                  <a:lnTo>
                    <a:pt x="907" y="41"/>
                  </a:lnTo>
                  <a:lnTo>
                    <a:pt x="927" y="31"/>
                  </a:lnTo>
                  <a:lnTo>
                    <a:pt x="946" y="22"/>
                  </a:lnTo>
                  <a:lnTo>
                    <a:pt x="967" y="15"/>
                  </a:lnTo>
                  <a:lnTo>
                    <a:pt x="989" y="10"/>
                  </a:lnTo>
                  <a:lnTo>
                    <a:pt x="1011" y="5"/>
                  </a:lnTo>
                  <a:lnTo>
                    <a:pt x="1035" y="2"/>
                  </a:lnTo>
                  <a:lnTo>
                    <a:pt x="1059" y="0"/>
                  </a:lnTo>
                  <a:lnTo>
                    <a:pt x="1083" y="0"/>
                  </a:lnTo>
                  <a:lnTo>
                    <a:pt x="1083" y="0"/>
                  </a:lnTo>
                  <a:lnTo>
                    <a:pt x="1106" y="0"/>
                  </a:lnTo>
                  <a:lnTo>
                    <a:pt x="1127" y="2"/>
                  </a:lnTo>
                  <a:lnTo>
                    <a:pt x="1148" y="4"/>
                  </a:lnTo>
                  <a:lnTo>
                    <a:pt x="1168" y="7"/>
                  </a:lnTo>
                  <a:lnTo>
                    <a:pt x="1186" y="12"/>
                  </a:lnTo>
                  <a:lnTo>
                    <a:pt x="1205" y="17"/>
                  </a:lnTo>
                  <a:lnTo>
                    <a:pt x="1221" y="23"/>
                  </a:lnTo>
                  <a:lnTo>
                    <a:pt x="1237" y="31"/>
                  </a:lnTo>
                  <a:lnTo>
                    <a:pt x="1253" y="38"/>
                  </a:lnTo>
                  <a:lnTo>
                    <a:pt x="1268" y="47"/>
                  </a:lnTo>
                  <a:lnTo>
                    <a:pt x="1281" y="56"/>
                  </a:lnTo>
                  <a:lnTo>
                    <a:pt x="1294" y="66"/>
                  </a:lnTo>
                  <a:lnTo>
                    <a:pt x="1307" y="76"/>
                  </a:lnTo>
                  <a:lnTo>
                    <a:pt x="1318" y="89"/>
                  </a:lnTo>
                  <a:lnTo>
                    <a:pt x="1329" y="101"/>
                  </a:lnTo>
                  <a:lnTo>
                    <a:pt x="1339" y="113"/>
                  </a:lnTo>
                  <a:lnTo>
                    <a:pt x="1348" y="127"/>
                  </a:lnTo>
                  <a:lnTo>
                    <a:pt x="1357" y="141"/>
                  </a:lnTo>
                  <a:lnTo>
                    <a:pt x="1365" y="156"/>
                  </a:lnTo>
                  <a:lnTo>
                    <a:pt x="1373" y="171"/>
                  </a:lnTo>
                  <a:lnTo>
                    <a:pt x="1379" y="186"/>
                  </a:lnTo>
                  <a:lnTo>
                    <a:pt x="1385" y="203"/>
                  </a:lnTo>
                  <a:lnTo>
                    <a:pt x="1390" y="220"/>
                  </a:lnTo>
                  <a:lnTo>
                    <a:pt x="1395" y="237"/>
                  </a:lnTo>
                  <a:lnTo>
                    <a:pt x="1399" y="256"/>
                  </a:lnTo>
                  <a:lnTo>
                    <a:pt x="1402" y="273"/>
                  </a:lnTo>
                  <a:lnTo>
                    <a:pt x="1405" y="292"/>
                  </a:lnTo>
                  <a:lnTo>
                    <a:pt x="1408" y="311"/>
                  </a:lnTo>
                  <a:lnTo>
                    <a:pt x="1411" y="350"/>
                  </a:lnTo>
                  <a:lnTo>
                    <a:pt x="1413" y="390"/>
                  </a:lnTo>
                  <a:lnTo>
                    <a:pt x="1413" y="933"/>
                  </a:lnTo>
                  <a:lnTo>
                    <a:pt x="1184" y="933"/>
                  </a:lnTo>
                  <a:lnTo>
                    <a:pt x="1184" y="417"/>
                  </a:lnTo>
                  <a:lnTo>
                    <a:pt x="1184" y="417"/>
                  </a:lnTo>
                  <a:lnTo>
                    <a:pt x="1184" y="396"/>
                  </a:lnTo>
                  <a:lnTo>
                    <a:pt x="1182" y="376"/>
                  </a:lnTo>
                  <a:lnTo>
                    <a:pt x="1180" y="355"/>
                  </a:lnTo>
                  <a:lnTo>
                    <a:pt x="1177" y="336"/>
                  </a:lnTo>
                  <a:lnTo>
                    <a:pt x="1172" y="318"/>
                  </a:lnTo>
                  <a:lnTo>
                    <a:pt x="1167" y="299"/>
                  </a:lnTo>
                  <a:lnTo>
                    <a:pt x="1159" y="283"/>
                  </a:lnTo>
                  <a:lnTo>
                    <a:pt x="1151" y="268"/>
                  </a:lnTo>
                  <a:lnTo>
                    <a:pt x="1140" y="255"/>
                  </a:lnTo>
                  <a:lnTo>
                    <a:pt x="1128" y="241"/>
                  </a:lnTo>
                  <a:lnTo>
                    <a:pt x="1114" y="231"/>
                  </a:lnTo>
                  <a:lnTo>
                    <a:pt x="1107" y="226"/>
                  </a:lnTo>
                  <a:lnTo>
                    <a:pt x="1099" y="222"/>
                  </a:lnTo>
                  <a:lnTo>
                    <a:pt x="1091" y="218"/>
                  </a:lnTo>
                  <a:lnTo>
                    <a:pt x="1081" y="215"/>
                  </a:lnTo>
                  <a:lnTo>
                    <a:pt x="1071" y="212"/>
                  </a:lnTo>
                  <a:lnTo>
                    <a:pt x="1061" y="209"/>
                  </a:lnTo>
                  <a:lnTo>
                    <a:pt x="1051" y="207"/>
                  </a:lnTo>
                  <a:lnTo>
                    <a:pt x="1040" y="206"/>
                  </a:lnTo>
                  <a:lnTo>
                    <a:pt x="1015" y="205"/>
                  </a:lnTo>
                  <a:lnTo>
                    <a:pt x="1015" y="205"/>
                  </a:lnTo>
                  <a:lnTo>
                    <a:pt x="1003" y="205"/>
                  </a:lnTo>
                  <a:lnTo>
                    <a:pt x="990" y="206"/>
                  </a:lnTo>
                  <a:lnTo>
                    <a:pt x="977" y="208"/>
                  </a:lnTo>
                  <a:lnTo>
                    <a:pt x="966" y="210"/>
                  </a:lnTo>
                  <a:lnTo>
                    <a:pt x="955" y="213"/>
                  </a:lnTo>
                  <a:lnTo>
                    <a:pt x="945" y="216"/>
                  </a:lnTo>
                  <a:lnTo>
                    <a:pt x="935" y="220"/>
                  </a:lnTo>
                  <a:lnTo>
                    <a:pt x="924" y="225"/>
                  </a:lnTo>
                  <a:lnTo>
                    <a:pt x="915" y="230"/>
                  </a:lnTo>
                  <a:lnTo>
                    <a:pt x="907" y="235"/>
                  </a:lnTo>
                  <a:lnTo>
                    <a:pt x="899" y="241"/>
                  </a:lnTo>
                  <a:lnTo>
                    <a:pt x="891" y="248"/>
                  </a:lnTo>
                  <a:lnTo>
                    <a:pt x="877" y="263"/>
                  </a:lnTo>
                  <a:lnTo>
                    <a:pt x="864" y="278"/>
                  </a:lnTo>
                  <a:lnTo>
                    <a:pt x="853" y="295"/>
                  </a:lnTo>
                  <a:lnTo>
                    <a:pt x="844" y="314"/>
                  </a:lnTo>
                  <a:lnTo>
                    <a:pt x="837" y="333"/>
                  </a:lnTo>
                  <a:lnTo>
                    <a:pt x="831" y="353"/>
                  </a:lnTo>
                  <a:lnTo>
                    <a:pt x="826" y="375"/>
                  </a:lnTo>
                  <a:lnTo>
                    <a:pt x="823" y="396"/>
                  </a:lnTo>
                  <a:lnTo>
                    <a:pt x="821" y="417"/>
                  </a:lnTo>
                  <a:lnTo>
                    <a:pt x="820" y="440"/>
                  </a:lnTo>
                  <a:lnTo>
                    <a:pt x="820" y="933"/>
                  </a:lnTo>
                  <a:lnTo>
                    <a:pt x="592" y="933"/>
                  </a:lnTo>
                  <a:lnTo>
                    <a:pt x="592" y="390"/>
                  </a:lnTo>
                  <a:lnTo>
                    <a:pt x="592" y="390"/>
                  </a:lnTo>
                  <a:lnTo>
                    <a:pt x="591" y="370"/>
                  </a:lnTo>
                  <a:lnTo>
                    <a:pt x="590" y="350"/>
                  </a:lnTo>
                  <a:lnTo>
                    <a:pt x="587" y="332"/>
                  </a:lnTo>
                  <a:lnTo>
                    <a:pt x="583" y="315"/>
                  </a:lnTo>
                  <a:lnTo>
                    <a:pt x="578" y="297"/>
                  </a:lnTo>
                  <a:lnTo>
                    <a:pt x="572" y="282"/>
                  </a:lnTo>
                  <a:lnTo>
                    <a:pt x="565" y="269"/>
                  </a:lnTo>
                  <a:lnTo>
                    <a:pt x="556" y="256"/>
                  </a:lnTo>
                  <a:lnTo>
                    <a:pt x="545" y="244"/>
                  </a:lnTo>
                  <a:lnTo>
                    <a:pt x="534" y="234"/>
                  </a:lnTo>
                  <a:lnTo>
                    <a:pt x="522" y="225"/>
                  </a:lnTo>
                  <a:lnTo>
                    <a:pt x="508" y="218"/>
                  </a:lnTo>
                  <a:lnTo>
                    <a:pt x="491" y="212"/>
                  </a:lnTo>
                  <a:lnTo>
                    <a:pt x="475" y="208"/>
                  </a:lnTo>
                  <a:lnTo>
                    <a:pt x="457" y="206"/>
                  </a:lnTo>
                  <a:lnTo>
                    <a:pt x="436" y="205"/>
                  </a:lnTo>
                  <a:lnTo>
                    <a:pt x="436" y="205"/>
                  </a:lnTo>
                  <a:lnTo>
                    <a:pt x="423" y="205"/>
                  </a:lnTo>
                  <a:lnTo>
                    <a:pt x="410" y="206"/>
                  </a:lnTo>
                  <a:lnTo>
                    <a:pt x="397" y="208"/>
                  </a:lnTo>
                  <a:lnTo>
                    <a:pt x="384" y="210"/>
                  </a:lnTo>
                  <a:lnTo>
                    <a:pt x="373" y="212"/>
                  </a:lnTo>
                  <a:lnTo>
                    <a:pt x="362" y="216"/>
                  </a:lnTo>
                  <a:lnTo>
                    <a:pt x="351" y="219"/>
                  </a:lnTo>
                  <a:lnTo>
                    <a:pt x="341" y="224"/>
                  </a:lnTo>
                  <a:lnTo>
                    <a:pt x="332" y="228"/>
                  </a:lnTo>
                  <a:lnTo>
                    <a:pt x="322" y="234"/>
                  </a:lnTo>
                  <a:lnTo>
                    <a:pt x="313" y="239"/>
                  </a:lnTo>
                  <a:lnTo>
                    <a:pt x="305" y="245"/>
                  </a:lnTo>
                  <a:lnTo>
                    <a:pt x="297" y="253"/>
                  </a:lnTo>
                  <a:lnTo>
                    <a:pt x="290" y="260"/>
                  </a:lnTo>
                  <a:lnTo>
                    <a:pt x="277" y="275"/>
                  </a:lnTo>
                  <a:lnTo>
                    <a:pt x="264" y="291"/>
                  </a:lnTo>
                  <a:lnTo>
                    <a:pt x="254" y="310"/>
                  </a:lnTo>
                  <a:lnTo>
                    <a:pt x="246" y="329"/>
                  </a:lnTo>
                  <a:lnTo>
                    <a:pt x="240" y="348"/>
                  </a:lnTo>
                  <a:lnTo>
                    <a:pt x="235" y="370"/>
                  </a:lnTo>
                  <a:lnTo>
                    <a:pt x="231" y="391"/>
                  </a:lnTo>
                  <a:lnTo>
                    <a:pt x="229" y="413"/>
                  </a:lnTo>
                  <a:lnTo>
                    <a:pt x="228" y="436"/>
                  </a:lnTo>
                  <a:lnTo>
                    <a:pt x="228" y="933"/>
                  </a:lnTo>
                  <a:lnTo>
                    <a:pt x="0" y="933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30"/>
            <p:cNvSpPr>
              <a:spLocks noEditPoints="1"/>
            </p:cNvSpPr>
            <p:nvPr/>
          </p:nvSpPr>
          <p:spPr bwMode="auto">
            <a:xfrm>
              <a:off x="4367213" y="4995863"/>
              <a:ext cx="779462" cy="1109662"/>
            </a:xfrm>
            <a:custGeom>
              <a:avLst/>
              <a:gdLst/>
              <a:ahLst/>
              <a:cxnLst>
                <a:cxn ang="0">
                  <a:pos x="482" y="445"/>
                </a:cxn>
                <a:cxn ang="0">
                  <a:pos x="382" y="470"/>
                </a:cxn>
                <a:cxn ang="0">
                  <a:pos x="307" y="510"/>
                </a:cxn>
                <a:cxn ang="0">
                  <a:pos x="253" y="557"/>
                </a:cxn>
                <a:cxn ang="0">
                  <a:pos x="227" y="0"/>
                </a:cxn>
                <a:cxn ang="0">
                  <a:pos x="216" y="1238"/>
                </a:cxn>
                <a:cxn ang="0">
                  <a:pos x="248" y="1277"/>
                </a:cxn>
                <a:cxn ang="0">
                  <a:pos x="315" y="1337"/>
                </a:cxn>
                <a:cxn ang="0">
                  <a:pos x="395" y="1377"/>
                </a:cxn>
                <a:cxn ang="0">
                  <a:pos x="486" y="1395"/>
                </a:cxn>
                <a:cxn ang="0">
                  <a:pos x="559" y="1397"/>
                </a:cxn>
                <a:cxn ang="0">
                  <a:pos x="656" y="1383"/>
                </a:cxn>
                <a:cxn ang="0">
                  <a:pos x="742" y="1351"/>
                </a:cxn>
                <a:cxn ang="0">
                  <a:pos x="816" y="1305"/>
                </a:cxn>
                <a:cxn ang="0">
                  <a:pos x="877" y="1243"/>
                </a:cxn>
                <a:cxn ang="0">
                  <a:pos x="925" y="1170"/>
                </a:cxn>
                <a:cxn ang="0">
                  <a:pos x="959" y="1087"/>
                </a:cxn>
                <a:cxn ang="0">
                  <a:pos x="978" y="994"/>
                </a:cxn>
                <a:cxn ang="0">
                  <a:pos x="982" y="920"/>
                </a:cxn>
                <a:cxn ang="0">
                  <a:pos x="974" y="822"/>
                </a:cxn>
                <a:cxn ang="0">
                  <a:pos x="951" y="731"/>
                </a:cxn>
                <a:cxn ang="0">
                  <a:pos x="912" y="650"/>
                </a:cxn>
                <a:cxn ang="0">
                  <a:pos x="860" y="579"/>
                </a:cxn>
                <a:cxn ang="0">
                  <a:pos x="796" y="522"/>
                </a:cxn>
                <a:cxn ang="0">
                  <a:pos x="720" y="479"/>
                </a:cxn>
                <a:cxn ang="0">
                  <a:pos x="636" y="451"/>
                </a:cxn>
                <a:cxn ang="0">
                  <a:pos x="542" y="442"/>
                </a:cxn>
                <a:cxn ang="0">
                  <a:pos x="472" y="1193"/>
                </a:cxn>
                <a:cxn ang="0">
                  <a:pos x="414" y="1183"/>
                </a:cxn>
                <a:cxn ang="0">
                  <a:pos x="363" y="1165"/>
                </a:cxn>
                <a:cxn ang="0">
                  <a:pos x="319" y="1136"/>
                </a:cxn>
                <a:cxn ang="0">
                  <a:pos x="282" y="1100"/>
                </a:cxn>
                <a:cxn ang="0">
                  <a:pos x="249" y="1046"/>
                </a:cxn>
                <a:cxn ang="0">
                  <a:pos x="221" y="946"/>
                </a:cxn>
                <a:cxn ang="0">
                  <a:pos x="224" y="867"/>
                </a:cxn>
                <a:cxn ang="0">
                  <a:pos x="261" y="771"/>
                </a:cxn>
                <a:cxn ang="0">
                  <a:pos x="291" y="730"/>
                </a:cxn>
                <a:cxn ang="0">
                  <a:pos x="329" y="696"/>
                </a:cxn>
                <a:cxn ang="0">
                  <a:pos x="375" y="669"/>
                </a:cxn>
                <a:cxn ang="0">
                  <a:pos x="428" y="653"/>
                </a:cxn>
                <a:cxn ang="0">
                  <a:pos x="487" y="647"/>
                </a:cxn>
                <a:cxn ang="0">
                  <a:pos x="533" y="650"/>
                </a:cxn>
                <a:cxn ang="0">
                  <a:pos x="587" y="664"/>
                </a:cxn>
                <a:cxn ang="0">
                  <a:pos x="635" y="688"/>
                </a:cxn>
                <a:cxn ang="0">
                  <a:pos x="674" y="721"/>
                </a:cxn>
                <a:cxn ang="0">
                  <a:pos x="707" y="760"/>
                </a:cxn>
                <a:cxn ang="0">
                  <a:pos x="745" y="841"/>
                </a:cxn>
                <a:cxn ang="0">
                  <a:pos x="755" y="920"/>
                </a:cxn>
                <a:cxn ang="0">
                  <a:pos x="737" y="1022"/>
                </a:cxn>
                <a:cxn ang="0">
                  <a:pos x="700" y="1090"/>
                </a:cxn>
                <a:cxn ang="0">
                  <a:pos x="665" y="1127"/>
                </a:cxn>
                <a:cxn ang="0">
                  <a:pos x="623" y="1158"/>
                </a:cxn>
                <a:cxn ang="0">
                  <a:pos x="574" y="1180"/>
                </a:cxn>
                <a:cxn ang="0">
                  <a:pos x="518" y="1191"/>
                </a:cxn>
              </a:cxnLst>
              <a:rect l="0" t="0" r="r" b="b"/>
              <a:pathLst>
                <a:path w="982" h="1398">
                  <a:moveTo>
                    <a:pt x="542" y="442"/>
                  </a:moveTo>
                  <a:lnTo>
                    <a:pt x="542" y="442"/>
                  </a:lnTo>
                  <a:lnTo>
                    <a:pt x="511" y="443"/>
                  </a:lnTo>
                  <a:lnTo>
                    <a:pt x="482" y="445"/>
                  </a:lnTo>
                  <a:lnTo>
                    <a:pt x="454" y="449"/>
                  </a:lnTo>
                  <a:lnTo>
                    <a:pt x="429" y="455"/>
                  </a:lnTo>
                  <a:lnTo>
                    <a:pt x="404" y="462"/>
                  </a:lnTo>
                  <a:lnTo>
                    <a:pt x="382" y="470"/>
                  </a:lnTo>
                  <a:lnTo>
                    <a:pt x="361" y="479"/>
                  </a:lnTo>
                  <a:lnTo>
                    <a:pt x="341" y="489"/>
                  </a:lnTo>
                  <a:lnTo>
                    <a:pt x="324" y="499"/>
                  </a:lnTo>
                  <a:lnTo>
                    <a:pt x="307" y="510"/>
                  </a:lnTo>
                  <a:lnTo>
                    <a:pt x="291" y="522"/>
                  </a:lnTo>
                  <a:lnTo>
                    <a:pt x="277" y="534"/>
                  </a:lnTo>
                  <a:lnTo>
                    <a:pt x="265" y="546"/>
                  </a:lnTo>
                  <a:lnTo>
                    <a:pt x="253" y="557"/>
                  </a:lnTo>
                  <a:lnTo>
                    <a:pt x="242" y="569"/>
                  </a:lnTo>
                  <a:lnTo>
                    <a:pt x="233" y="580"/>
                  </a:lnTo>
                  <a:lnTo>
                    <a:pt x="227" y="580"/>
                  </a:lnTo>
                  <a:lnTo>
                    <a:pt x="227" y="0"/>
                  </a:lnTo>
                  <a:lnTo>
                    <a:pt x="0" y="0"/>
                  </a:lnTo>
                  <a:lnTo>
                    <a:pt x="0" y="1375"/>
                  </a:lnTo>
                  <a:lnTo>
                    <a:pt x="216" y="1375"/>
                  </a:lnTo>
                  <a:lnTo>
                    <a:pt x="216" y="1238"/>
                  </a:lnTo>
                  <a:lnTo>
                    <a:pt x="220" y="1238"/>
                  </a:lnTo>
                  <a:lnTo>
                    <a:pt x="220" y="1238"/>
                  </a:lnTo>
                  <a:lnTo>
                    <a:pt x="233" y="1258"/>
                  </a:lnTo>
                  <a:lnTo>
                    <a:pt x="248" y="1277"/>
                  </a:lnTo>
                  <a:lnTo>
                    <a:pt x="263" y="1294"/>
                  </a:lnTo>
                  <a:lnTo>
                    <a:pt x="279" y="1310"/>
                  </a:lnTo>
                  <a:lnTo>
                    <a:pt x="296" y="1324"/>
                  </a:lnTo>
                  <a:lnTo>
                    <a:pt x="315" y="1337"/>
                  </a:lnTo>
                  <a:lnTo>
                    <a:pt x="334" y="1349"/>
                  </a:lnTo>
                  <a:lnTo>
                    <a:pt x="353" y="1360"/>
                  </a:lnTo>
                  <a:lnTo>
                    <a:pt x="374" y="1369"/>
                  </a:lnTo>
                  <a:lnTo>
                    <a:pt x="395" y="1377"/>
                  </a:lnTo>
                  <a:lnTo>
                    <a:pt x="418" y="1383"/>
                  </a:lnTo>
                  <a:lnTo>
                    <a:pt x="440" y="1388"/>
                  </a:lnTo>
                  <a:lnTo>
                    <a:pt x="462" y="1392"/>
                  </a:lnTo>
                  <a:lnTo>
                    <a:pt x="486" y="1395"/>
                  </a:lnTo>
                  <a:lnTo>
                    <a:pt x="509" y="1397"/>
                  </a:lnTo>
                  <a:lnTo>
                    <a:pt x="533" y="1398"/>
                  </a:lnTo>
                  <a:lnTo>
                    <a:pt x="533" y="1398"/>
                  </a:lnTo>
                  <a:lnTo>
                    <a:pt x="559" y="1397"/>
                  </a:lnTo>
                  <a:lnTo>
                    <a:pt x="585" y="1395"/>
                  </a:lnTo>
                  <a:lnTo>
                    <a:pt x="609" y="1392"/>
                  </a:lnTo>
                  <a:lnTo>
                    <a:pt x="633" y="1388"/>
                  </a:lnTo>
                  <a:lnTo>
                    <a:pt x="656" y="1383"/>
                  </a:lnTo>
                  <a:lnTo>
                    <a:pt x="678" y="1377"/>
                  </a:lnTo>
                  <a:lnTo>
                    <a:pt x="701" y="1370"/>
                  </a:lnTo>
                  <a:lnTo>
                    <a:pt x="721" y="1361"/>
                  </a:lnTo>
                  <a:lnTo>
                    <a:pt x="742" y="1351"/>
                  </a:lnTo>
                  <a:lnTo>
                    <a:pt x="762" y="1341"/>
                  </a:lnTo>
                  <a:lnTo>
                    <a:pt x="780" y="1330"/>
                  </a:lnTo>
                  <a:lnTo>
                    <a:pt x="799" y="1318"/>
                  </a:lnTo>
                  <a:lnTo>
                    <a:pt x="816" y="1305"/>
                  </a:lnTo>
                  <a:lnTo>
                    <a:pt x="832" y="1290"/>
                  </a:lnTo>
                  <a:lnTo>
                    <a:pt x="849" y="1275"/>
                  </a:lnTo>
                  <a:lnTo>
                    <a:pt x="863" y="1260"/>
                  </a:lnTo>
                  <a:lnTo>
                    <a:pt x="877" y="1243"/>
                  </a:lnTo>
                  <a:lnTo>
                    <a:pt x="890" y="1226"/>
                  </a:lnTo>
                  <a:lnTo>
                    <a:pt x="903" y="1208"/>
                  </a:lnTo>
                  <a:lnTo>
                    <a:pt x="914" y="1189"/>
                  </a:lnTo>
                  <a:lnTo>
                    <a:pt x="925" y="1170"/>
                  </a:lnTo>
                  <a:lnTo>
                    <a:pt x="935" y="1150"/>
                  </a:lnTo>
                  <a:lnTo>
                    <a:pt x="943" y="1129"/>
                  </a:lnTo>
                  <a:lnTo>
                    <a:pt x="952" y="1108"/>
                  </a:lnTo>
                  <a:lnTo>
                    <a:pt x="959" y="1087"/>
                  </a:lnTo>
                  <a:lnTo>
                    <a:pt x="965" y="1064"/>
                  </a:lnTo>
                  <a:lnTo>
                    <a:pt x="970" y="1041"/>
                  </a:lnTo>
                  <a:lnTo>
                    <a:pt x="975" y="1017"/>
                  </a:lnTo>
                  <a:lnTo>
                    <a:pt x="978" y="994"/>
                  </a:lnTo>
                  <a:lnTo>
                    <a:pt x="980" y="969"/>
                  </a:lnTo>
                  <a:lnTo>
                    <a:pt x="982" y="945"/>
                  </a:lnTo>
                  <a:lnTo>
                    <a:pt x="982" y="920"/>
                  </a:lnTo>
                  <a:lnTo>
                    <a:pt x="982" y="920"/>
                  </a:lnTo>
                  <a:lnTo>
                    <a:pt x="982" y="894"/>
                  </a:lnTo>
                  <a:lnTo>
                    <a:pt x="980" y="870"/>
                  </a:lnTo>
                  <a:lnTo>
                    <a:pt x="978" y="845"/>
                  </a:lnTo>
                  <a:lnTo>
                    <a:pt x="974" y="822"/>
                  </a:lnTo>
                  <a:lnTo>
                    <a:pt x="970" y="798"/>
                  </a:lnTo>
                  <a:lnTo>
                    <a:pt x="964" y="776"/>
                  </a:lnTo>
                  <a:lnTo>
                    <a:pt x="958" y="754"/>
                  </a:lnTo>
                  <a:lnTo>
                    <a:pt x="951" y="731"/>
                  </a:lnTo>
                  <a:lnTo>
                    <a:pt x="942" y="710"/>
                  </a:lnTo>
                  <a:lnTo>
                    <a:pt x="933" y="689"/>
                  </a:lnTo>
                  <a:lnTo>
                    <a:pt x="923" y="669"/>
                  </a:lnTo>
                  <a:lnTo>
                    <a:pt x="912" y="650"/>
                  </a:lnTo>
                  <a:lnTo>
                    <a:pt x="900" y="631"/>
                  </a:lnTo>
                  <a:lnTo>
                    <a:pt x="887" y="613"/>
                  </a:lnTo>
                  <a:lnTo>
                    <a:pt x="874" y="596"/>
                  </a:lnTo>
                  <a:lnTo>
                    <a:pt x="860" y="579"/>
                  </a:lnTo>
                  <a:lnTo>
                    <a:pt x="845" y="564"/>
                  </a:lnTo>
                  <a:lnTo>
                    <a:pt x="829" y="549"/>
                  </a:lnTo>
                  <a:lnTo>
                    <a:pt x="813" y="535"/>
                  </a:lnTo>
                  <a:lnTo>
                    <a:pt x="796" y="522"/>
                  </a:lnTo>
                  <a:lnTo>
                    <a:pt x="778" y="509"/>
                  </a:lnTo>
                  <a:lnTo>
                    <a:pt x="760" y="498"/>
                  </a:lnTo>
                  <a:lnTo>
                    <a:pt x="741" y="488"/>
                  </a:lnTo>
                  <a:lnTo>
                    <a:pt x="720" y="479"/>
                  </a:lnTo>
                  <a:lnTo>
                    <a:pt x="701" y="470"/>
                  </a:lnTo>
                  <a:lnTo>
                    <a:pt x="679" y="462"/>
                  </a:lnTo>
                  <a:lnTo>
                    <a:pt x="658" y="456"/>
                  </a:lnTo>
                  <a:lnTo>
                    <a:pt x="636" y="451"/>
                  </a:lnTo>
                  <a:lnTo>
                    <a:pt x="613" y="447"/>
                  </a:lnTo>
                  <a:lnTo>
                    <a:pt x="590" y="444"/>
                  </a:lnTo>
                  <a:lnTo>
                    <a:pt x="566" y="442"/>
                  </a:lnTo>
                  <a:lnTo>
                    <a:pt x="542" y="442"/>
                  </a:lnTo>
                  <a:lnTo>
                    <a:pt x="542" y="442"/>
                  </a:lnTo>
                  <a:close/>
                  <a:moveTo>
                    <a:pt x="487" y="1193"/>
                  </a:moveTo>
                  <a:lnTo>
                    <a:pt x="487" y="1193"/>
                  </a:lnTo>
                  <a:lnTo>
                    <a:pt x="472" y="1193"/>
                  </a:lnTo>
                  <a:lnTo>
                    <a:pt x="456" y="1191"/>
                  </a:lnTo>
                  <a:lnTo>
                    <a:pt x="442" y="1189"/>
                  </a:lnTo>
                  <a:lnTo>
                    <a:pt x="428" y="1187"/>
                  </a:lnTo>
                  <a:lnTo>
                    <a:pt x="414" y="1183"/>
                  </a:lnTo>
                  <a:lnTo>
                    <a:pt x="400" y="1180"/>
                  </a:lnTo>
                  <a:lnTo>
                    <a:pt x="387" y="1175"/>
                  </a:lnTo>
                  <a:lnTo>
                    <a:pt x="375" y="1170"/>
                  </a:lnTo>
                  <a:lnTo>
                    <a:pt x="363" y="1165"/>
                  </a:lnTo>
                  <a:lnTo>
                    <a:pt x="351" y="1158"/>
                  </a:lnTo>
                  <a:lnTo>
                    <a:pt x="340" y="1152"/>
                  </a:lnTo>
                  <a:lnTo>
                    <a:pt x="329" y="1144"/>
                  </a:lnTo>
                  <a:lnTo>
                    <a:pt x="319" y="1136"/>
                  </a:lnTo>
                  <a:lnTo>
                    <a:pt x="309" y="1127"/>
                  </a:lnTo>
                  <a:lnTo>
                    <a:pt x="299" y="1119"/>
                  </a:lnTo>
                  <a:lnTo>
                    <a:pt x="291" y="1110"/>
                  </a:lnTo>
                  <a:lnTo>
                    <a:pt x="282" y="1100"/>
                  </a:lnTo>
                  <a:lnTo>
                    <a:pt x="275" y="1090"/>
                  </a:lnTo>
                  <a:lnTo>
                    <a:pt x="267" y="1079"/>
                  </a:lnTo>
                  <a:lnTo>
                    <a:pt x="261" y="1068"/>
                  </a:lnTo>
                  <a:lnTo>
                    <a:pt x="249" y="1046"/>
                  </a:lnTo>
                  <a:lnTo>
                    <a:pt x="238" y="1022"/>
                  </a:lnTo>
                  <a:lnTo>
                    <a:pt x="230" y="998"/>
                  </a:lnTo>
                  <a:lnTo>
                    <a:pt x="224" y="973"/>
                  </a:lnTo>
                  <a:lnTo>
                    <a:pt x="221" y="946"/>
                  </a:lnTo>
                  <a:lnTo>
                    <a:pt x="220" y="920"/>
                  </a:lnTo>
                  <a:lnTo>
                    <a:pt x="220" y="920"/>
                  </a:lnTo>
                  <a:lnTo>
                    <a:pt x="221" y="893"/>
                  </a:lnTo>
                  <a:lnTo>
                    <a:pt x="224" y="867"/>
                  </a:lnTo>
                  <a:lnTo>
                    <a:pt x="230" y="841"/>
                  </a:lnTo>
                  <a:lnTo>
                    <a:pt x="238" y="817"/>
                  </a:lnTo>
                  <a:lnTo>
                    <a:pt x="249" y="793"/>
                  </a:lnTo>
                  <a:lnTo>
                    <a:pt x="261" y="771"/>
                  </a:lnTo>
                  <a:lnTo>
                    <a:pt x="267" y="760"/>
                  </a:lnTo>
                  <a:lnTo>
                    <a:pt x="275" y="750"/>
                  </a:lnTo>
                  <a:lnTo>
                    <a:pt x="282" y="739"/>
                  </a:lnTo>
                  <a:lnTo>
                    <a:pt x="291" y="730"/>
                  </a:lnTo>
                  <a:lnTo>
                    <a:pt x="299" y="721"/>
                  </a:lnTo>
                  <a:lnTo>
                    <a:pt x="309" y="712"/>
                  </a:lnTo>
                  <a:lnTo>
                    <a:pt x="319" y="704"/>
                  </a:lnTo>
                  <a:lnTo>
                    <a:pt x="329" y="696"/>
                  </a:lnTo>
                  <a:lnTo>
                    <a:pt x="340" y="688"/>
                  </a:lnTo>
                  <a:lnTo>
                    <a:pt x="351" y="681"/>
                  </a:lnTo>
                  <a:lnTo>
                    <a:pt x="363" y="675"/>
                  </a:lnTo>
                  <a:lnTo>
                    <a:pt x="375" y="669"/>
                  </a:lnTo>
                  <a:lnTo>
                    <a:pt x="387" y="664"/>
                  </a:lnTo>
                  <a:lnTo>
                    <a:pt x="400" y="660"/>
                  </a:lnTo>
                  <a:lnTo>
                    <a:pt x="414" y="656"/>
                  </a:lnTo>
                  <a:lnTo>
                    <a:pt x="428" y="653"/>
                  </a:lnTo>
                  <a:lnTo>
                    <a:pt x="442" y="650"/>
                  </a:lnTo>
                  <a:lnTo>
                    <a:pt x="456" y="648"/>
                  </a:lnTo>
                  <a:lnTo>
                    <a:pt x="472" y="647"/>
                  </a:lnTo>
                  <a:lnTo>
                    <a:pt x="487" y="647"/>
                  </a:lnTo>
                  <a:lnTo>
                    <a:pt x="487" y="647"/>
                  </a:lnTo>
                  <a:lnTo>
                    <a:pt x="502" y="647"/>
                  </a:lnTo>
                  <a:lnTo>
                    <a:pt x="518" y="648"/>
                  </a:lnTo>
                  <a:lnTo>
                    <a:pt x="533" y="650"/>
                  </a:lnTo>
                  <a:lnTo>
                    <a:pt x="547" y="653"/>
                  </a:lnTo>
                  <a:lnTo>
                    <a:pt x="560" y="656"/>
                  </a:lnTo>
                  <a:lnTo>
                    <a:pt x="574" y="660"/>
                  </a:lnTo>
                  <a:lnTo>
                    <a:pt x="587" y="664"/>
                  </a:lnTo>
                  <a:lnTo>
                    <a:pt x="600" y="669"/>
                  </a:lnTo>
                  <a:lnTo>
                    <a:pt x="611" y="675"/>
                  </a:lnTo>
                  <a:lnTo>
                    <a:pt x="623" y="681"/>
                  </a:lnTo>
                  <a:lnTo>
                    <a:pt x="635" y="688"/>
                  </a:lnTo>
                  <a:lnTo>
                    <a:pt x="645" y="696"/>
                  </a:lnTo>
                  <a:lnTo>
                    <a:pt x="656" y="704"/>
                  </a:lnTo>
                  <a:lnTo>
                    <a:pt x="665" y="712"/>
                  </a:lnTo>
                  <a:lnTo>
                    <a:pt x="674" y="721"/>
                  </a:lnTo>
                  <a:lnTo>
                    <a:pt x="684" y="730"/>
                  </a:lnTo>
                  <a:lnTo>
                    <a:pt x="692" y="739"/>
                  </a:lnTo>
                  <a:lnTo>
                    <a:pt x="700" y="750"/>
                  </a:lnTo>
                  <a:lnTo>
                    <a:pt x="707" y="760"/>
                  </a:lnTo>
                  <a:lnTo>
                    <a:pt x="714" y="771"/>
                  </a:lnTo>
                  <a:lnTo>
                    <a:pt x="726" y="793"/>
                  </a:lnTo>
                  <a:lnTo>
                    <a:pt x="737" y="817"/>
                  </a:lnTo>
                  <a:lnTo>
                    <a:pt x="745" y="841"/>
                  </a:lnTo>
                  <a:lnTo>
                    <a:pt x="750" y="867"/>
                  </a:lnTo>
                  <a:lnTo>
                    <a:pt x="754" y="893"/>
                  </a:lnTo>
                  <a:lnTo>
                    <a:pt x="755" y="920"/>
                  </a:lnTo>
                  <a:lnTo>
                    <a:pt x="755" y="920"/>
                  </a:lnTo>
                  <a:lnTo>
                    <a:pt x="754" y="946"/>
                  </a:lnTo>
                  <a:lnTo>
                    <a:pt x="750" y="973"/>
                  </a:lnTo>
                  <a:lnTo>
                    <a:pt x="745" y="998"/>
                  </a:lnTo>
                  <a:lnTo>
                    <a:pt x="737" y="1022"/>
                  </a:lnTo>
                  <a:lnTo>
                    <a:pt x="726" y="1046"/>
                  </a:lnTo>
                  <a:lnTo>
                    <a:pt x="714" y="1068"/>
                  </a:lnTo>
                  <a:lnTo>
                    <a:pt x="707" y="1079"/>
                  </a:lnTo>
                  <a:lnTo>
                    <a:pt x="700" y="1090"/>
                  </a:lnTo>
                  <a:lnTo>
                    <a:pt x="692" y="1100"/>
                  </a:lnTo>
                  <a:lnTo>
                    <a:pt x="684" y="1110"/>
                  </a:lnTo>
                  <a:lnTo>
                    <a:pt x="674" y="1119"/>
                  </a:lnTo>
                  <a:lnTo>
                    <a:pt x="665" y="1127"/>
                  </a:lnTo>
                  <a:lnTo>
                    <a:pt x="656" y="1136"/>
                  </a:lnTo>
                  <a:lnTo>
                    <a:pt x="645" y="1144"/>
                  </a:lnTo>
                  <a:lnTo>
                    <a:pt x="635" y="1152"/>
                  </a:lnTo>
                  <a:lnTo>
                    <a:pt x="623" y="1158"/>
                  </a:lnTo>
                  <a:lnTo>
                    <a:pt x="611" y="1165"/>
                  </a:lnTo>
                  <a:lnTo>
                    <a:pt x="600" y="1170"/>
                  </a:lnTo>
                  <a:lnTo>
                    <a:pt x="587" y="1175"/>
                  </a:lnTo>
                  <a:lnTo>
                    <a:pt x="574" y="1180"/>
                  </a:lnTo>
                  <a:lnTo>
                    <a:pt x="560" y="1183"/>
                  </a:lnTo>
                  <a:lnTo>
                    <a:pt x="547" y="1187"/>
                  </a:lnTo>
                  <a:lnTo>
                    <a:pt x="533" y="1189"/>
                  </a:lnTo>
                  <a:lnTo>
                    <a:pt x="518" y="1191"/>
                  </a:lnTo>
                  <a:lnTo>
                    <a:pt x="502" y="1193"/>
                  </a:lnTo>
                  <a:lnTo>
                    <a:pt x="487" y="1193"/>
                  </a:lnTo>
                  <a:lnTo>
                    <a:pt x="487" y="119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1"/>
            <p:cNvSpPr>
              <a:spLocks noEditPoints="1"/>
            </p:cNvSpPr>
            <p:nvPr/>
          </p:nvSpPr>
          <p:spPr bwMode="auto">
            <a:xfrm>
              <a:off x="5229225" y="5346700"/>
              <a:ext cx="731837" cy="758825"/>
            </a:xfrm>
            <a:custGeom>
              <a:avLst/>
              <a:gdLst/>
              <a:ahLst/>
              <a:cxnLst>
                <a:cxn ang="0">
                  <a:pos x="231" y="363"/>
                </a:cxn>
                <a:cxn ang="0">
                  <a:pos x="253" y="297"/>
                </a:cxn>
                <a:cxn ang="0">
                  <a:pos x="286" y="244"/>
                </a:cxn>
                <a:cxn ang="0">
                  <a:pos x="333" y="205"/>
                </a:cxn>
                <a:cxn ang="0">
                  <a:pos x="392" y="179"/>
                </a:cxn>
                <a:cxn ang="0">
                  <a:pos x="463" y="170"/>
                </a:cxn>
                <a:cxn ang="0">
                  <a:pos x="514" y="174"/>
                </a:cxn>
                <a:cxn ang="0">
                  <a:pos x="579" y="193"/>
                </a:cxn>
                <a:cxn ang="0">
                  <a:pos x="631" y="229"/>
                </a:cxn>
                <a:cxn ang="0">
                  <a:pos x="668" y="278"/>
                </a:cxn>
                <a:cxn ang="0">
                  <a:pos x="690" y="339"/>
                </a:cxn>
                <a:cxn ang="0">
                  <a:pos x="227" y="387"/>
                </a:cxn>
                <a:cxn ang="0">
                  <a:pos x="922" y="495"/>
                </a:cxn>
                <a:cxn ang="0">
                  <a:pos x="917" y="409"/>
                </a:cxn>
                <a:cxn ang="0">
                  <a:pos x="904" y="332"/>
                </a:cxn>
                <a:cxn ang="0">
                  <a:pos x="882" y="262"/>
                </a:cxn>
                <a:cxn ang="0">
                  <a:pos x="854" y="200"/>
                </a:cxn>
                <a:cxn ang="0">
                  <a:pos x="817" y="145"/>
                </a:cxn>
                <a:cxn ang="0">
                  <a:pos x="774" y="99"/>
                </a:cxn>
                <a:cxn ang="0">
                  <a:pos x="724" y="61"/>
                </a:cxn>
                <a:cxn ang="0">
                  <a:pos x="668" y="33"/>
                </a:cxn>
                <a:cxn ang="0">
                  <a:pos x="607" y="12"/>
                </a:cxn>
                <a:cxn ang="0">
                  <a:pos x="541" y="2"/>
                </a:cxn>
                <a:cxn ang="0">
                  <a:pos x="495" y="0"/>
                </a:cxn>
                <a:cxn ang="0">
                  <a:pos x="419" y="5"/>
                </a:cxn>
                <a:cxn ang="0">
                  <a:pos x="346" y="19"/>
                </a:cxn>
                <a:cxn ang="0">
                  <a:pos x="279" y="43"/>
                </a:cxn>
                <a:cxn ang="0">
                  <a:pos x="217" y="75"/>
                </a:cxn>
                <a:cxn ang="0">
                  <a:pos x="161" y="116"/>
                </a:cxn>
                <a:cxn ang="0">
                  <a:pos x="112" y="164"/>
                </a:cxn>
                <a:cxn ang="0">
                  <a:pos x="71" y="220"/>
                </a:cxn>
                <a:cxn ang="0">
                  <a:pos x="39" y="282"/>
                </a:cxn>
                <a:cxn ang="0">
                  <a:pos x="15" y="350"/>
                </a:cxn>
                <a:cxn ang="0">
                  <a:pos x="2" y="425"/>
                </a:cxn>
                <a:cxn ang="0">
                  <a:pos x="0" y="478"/>
                </a:cxn>
                <a:cxn ang="0">
                  <a:pos x="5" y="556"/>
                </a:cxn>
                <a:cxn ang="0">
                  <a:pos x="21" y="628"/>
                </a:cxn>
                <a:cxn ang="0">
                  <a:pos x="48" y="694"/>
                </a:cxn>
                <a:cxn ang="0">
                  <a:pos x="84" y="755"/>
                </a:cxn>
                <a:cxn ang="0">
                  <a:pos x="127" y="809"/>
                </a:cxn>
                <a:cxn ang="0">
                  <a:pos x="179" y="853"/>
                </a:cxn>
                <a:cxn ang="0">
                  <a:pos x="237" y="892"/>
                </a:cxn>
                <a:cxn ang="0">
                  <a:pos x="302" y="922"/>
                </a:cxn>
                <a:cxn ang="0">
                  <a:pos x="371" y="942"/>
                </a:cxn>
                <a:cxn ang="0">
                  <a:pos x="444" y="953"/>
                </a:cxn>
                <a:cxn ang="0">
                  <a:pos x="495" y="956"/>
                </a:cxn>
                <a:cxn ang="0">
                  <a:pos x="575" y="950"/>
                </a:cxn>
                <a:cxn ang="0">
                  <a:pos x="652" y="933"/>
                </a:cxn>
                <a:cxn ang="0">
                  <a:pos x="725" y="902"/>
                </a:cxn>
                <a:cxn ang="0">
                  <a:pos x="796" y="857"/>
                </a:cxn>
                <a:cxn ang="0">
                  <a:pos x="860" y="797"/>
                </a:cxn>
                <a:cxn ang="0">
                  <a:pos x="717" y="651"/>
                </a:cxn>
                <a:cxn ang="0">
                  <a:pos x="683" y="687"/>
                </a:cxn>
                <a:cxn ang="0">
                  <a:pos x="645" y="720"/>
                </a:cxn>
                <a:cxn ang="0">
                  <a:pos x="600" y="746"/>
                </a:cxn>
                <a:cxn ang="0">
                  <a:pos x="550" y="765"/>
                </a:cxn>
                <a:cxn ang="0">
                  <a:pos x="493" y="773"/>
                </a:cxn>
                <a:cxn ang="0">
                  <a:pos x="448" y="773"/>
                </a:cxn>
                <a:cxn ang="0">
                  <a:pos x="382" y="759"/>
                </a:cxn>
                <a:cxn ang="0">
                  <a:pos x="325" y="729"/>
                </a:cxn>
                <a:cxn ang="0">
                  <a:pos x="278" y="685"/>
                </a:cxn>
                <a:cxn ang="0">
                  <a:pos x="245" y="627"/>
                </a:cxn>
                <a:cxn ang="0">
                  <a:pos x="227" y="557"/>
                </a:cxn>
              </a:cxnLst>
              <a:rect l="0" t="0" r="r" b="b"/>
              <a:pathLst>
                <a:path w="922" h="956">
                  <a:moveTo>
                    <a:pt x="227" y="387"/>
                  </a:moveTo>
                  <a:lnTo>
                    <a:pt x="227" y="387"/>
                  </a:lnTo>
                  <a:lnTo>
                    <a:pt x="231" y="363"/>
                  </a:lnTo>
                  <a:lnTo>
                    <a:pt x="236" y="340"/>
                  </a:lnTo>
                  <a:lnTo>
                    <a:pt x="244" y="318"/>
                  </a:lnTo>
                  <a:lnTo>
                    <a:pt x="253" y="297"/>
                  </a:lnTo>
                  <a:lnTo>
                    <a:pt x="262" y="278"/>
                  </a:lnTo>
                  <a:lnTo>
                    <a:pt x="274" y="261"/>
                  </a:lnTo>
                  <a:lnTo>
                    <a:pt x="286" y="244"/>
                  </a:lnTo>
                  <a:lnTo>
                    <a:pt x="301" y="229"/>
                  </a:lnTo>
                  <a:lnTo>
                    <a:pt x="317" y="216"/>
                  </a:lnTo>
                  <a:lnTo>
                    <a:pt x="333" y="205"/>
                  </a:lnTo>
                  <a:lnTo>
                    <a:pt x="352" y="194"/>
                  </a:lnTo>
                  <a:lnTo>
                    <a:pt x="372" y="185"/>
                  </a:lnTo>
                  <a:lnTo>
                    <a:pt x="392" y="179"/>
                  </a:lnTo>
                  <a:lnTo>
                    <a:pt x="415" y="174"/>
                  </a:lnTo>
                  <a:lnTo>
                    <a:pt x="438" y="171"/>
                  </a:lnTo>
                  <a:lnTo>
                    <a:pt x="463" y="170"/>
                  </a:lnTo>
                  <a:lnTo>
                    <a:pt x="463" y="170"/>
                  </a:lnTo>
                  <a:lnTo>
                    <a:pt x="489" y="171"/>
                  </a:lnTo>
                  <a:lnTo>
                    <a:pt x="514" y="174"/>
                  </a:lnTo>
                  <a:lnTo>
                    <a:pt x="537" y="179"/>
                  </a:lnTo>
                  <a:lnTo>
                    <a:pt x="558" y="185"/>
                  </a:lnTo>
                  <a:lnTo>
                    <a:pt x="579" y="193"/>
                  </a:lnTo>
                  <a:lnTo>
                    <a:pt x="598" y="204"/>
                  </a:lnTo>
                  <a:lnTo>
                    <a:pt x="615" y="216"/>
                  </a:lnTo>
                  <a:lnTo>
                    <a:pt x="631" y="229"/>
                  </a:lnTo>
                  <a:lnTo>
                    <a:pt x="645" y="243"/>
                  </a:lnTo>
                  <a:lnTo>
                    <a:pt x="657" y="260"/>
                  </a:lnTo>
                  <a:lnTo>
                    <a:pt x="668" y="278"/>
                  </a:lnTo>
                  <a:lnTo>
                    <a:pt x="678" y="297"/>
                  </a:lnTo>
                  <a:lnTo>
                    <a:pt x="685" y="318"/>
                  </a:lnTo>
                  <a:lnTo>
                    <a:pt x="690" y="339"/>
                  </a:lnTo>
                  <a:lnTo>
                    <a:pt x="693" y="363"/>
                  </a:lnTo>
                  <a:lnTo>
                    <a:pt x="694" y="387"/>
                  </a:lnTo>
                  <a:lnTo>
                    <a:pt x="227" y="387"/>
                  </a:lnTo>
                  <a:close/>
                  <a:moveTo>
                    <a:pt x="922" y="557"/>
                  </a:moveTo>
                  <a:lnTo>
                    <a:pt x="922" y="495"/>
                  </a:lnTo>
                  <a:lnTo>
                    <a:pt x="922" y="495"/>
                  </a:lnTo>
                  <a:lnTo>
                    <a:pt x="921" y="465"/>
                  </a:lnTo>
                  <a:lnTo>
                    <a:pt x="920" y="437"/>
                  </a:lnTo>
                  <a:lnTo>
                    <a:pt x="917" y="409"/>
                  </a:lnTo>
                  <a:lnTo>
                    <a:pt x="914" y="383"/>
                  </a:lnTo>
                  <a:lnTo>
                    <a:pt x="910" y="356"/>
                  </a:lnTo>
                  <a:lnTo>
                    <a:pt x="904" y="332"/>
                  </a:lnTo>
                  <a:lnTo>
                    <a:pt x="898" y="308"/>
                  </a:lnTo>
                  <a:lnTo>
                    <a:pt x="890" y="284"/>
                  </a:lnTo>
                  <a:lnTo>
                    <a:pt x="882" y="262"/>
                  </a:lnTo>
                  <a:lnTo>
                    <a:pt x="874" y="239"/>
                  </a:lnTo>
                  <a:lnTo>
                    <a:pt x="864" y="219"/>
                  </a:lnTo>
                  <a:lnTo>
                    <a:pt x="854" y="200"/>
                  </a:lnTo>
                  <a:lnTo>
                    <a:pt x="843" y="180"/>
                  </a:lnTo>
                  <a:lnTo>
                    <a:pt x="830" y="162"/>
                  </a:lnTo>
                  <a:lnTo>
                    <a:pt x="817" y="145"/>
                  </a:lnTo>
                  <a:lnTo>
                    <a:pt x="804" y="128"/>
                  </a:lnTo>
                  <a:lnTo>
                    <a:pt x="790" y="113"/>
                  </a:lnTo>
                  <a:lnTo>
                    <a:pt x="774" y="99"/>
                  </a:lnTo>
                  <a:lnTo>
                    <a:pt x="758" y="86"/>
                  </a:lnTo>
                  <a:lnTo>
                    <a:pt x="742" y="73"/>
                  </a:lnTo>
                  <a:lnTo>
                    <a:pt x="724" y="61"/>
                  </a:lnTo>
                  <a:lnTo>
                    <a:pt x="706" y="51"/>
                  </a:lnTo>
                  <a:lnTo>
                    <a:pt x="688" y="41"/>
                  </a:lnTo>
                  <a:lnTo>
                    <a:pt x="668" y="33"/>
                  </a:lnTo>
                  <a:lnTo>
                    <a:pt x="649" y="25"/>
                  </a:lnTo>
                  <a:lnTo>
                    <a:pt x="629" y="18"/>
                  </a:lnTo>
                  <a:lnTo>
                    <a:pt x="607" y="12"/>
                  </a:lnTo>
                  <a:lnTo>
                    <a:pt x="586" y="8"/>
                  </a:lnTo>
                  <a:lnTo>
                    <a:pt x="564" y="4"/>
                  </a:lnTo>
                  <a:lnTo>
                    <a:pt x="541" y="2"/>
                  </a:lnTo>
                  <a:lnTo>
                    <a:pt x="519" y="0"/>
                  </a:lnTo>
                  <a:lnTo>
                    <a:pt x="495" y="0"/>
                  </a:lnTo>
                  <a:lnTo>
                    <a:pt x="495" y="0"/>
                  </a:lnTo>
                  <a:lnTo>
                    <a:pt x="469" y="0"/>
                  </a:lnTo>
                  <a:lnTo>
                    <a:pt x="444" y="2"/>
                  </a:lnTo>
                  <a:lnTo>
                    <a:pt x="419" y="5"/>
                  </a:lnTo>
                  <a:lnTo>
                    <a:pt x="394" y="8"/>
                  </a:lnTo>
                  <a:lnTo>
                    <a:pt x="371" y="13"/>
                  </a:lnTo>
                  <a:lnTo>
                    <a:pt x="346" y="19"/>
                  </a:lnTo>
                  <a:lnTo>
                    <a:pt x="324" y="26"/>
                  </a:lnTo>
                  <a:lnTo>
                    <a:pt x="302" y="35"/>
                  </a:lnTo>
                  <a:lnTo>
                    <a:pt x="279" y="43"/>
                  </a:lnTo>
                  <a:lnTo>
                    <a:pt x="258" y="53"/>
                  </a:lnTo>
                  <a:lnTo>
                    <a:pt x="237" y="64"/>
                  </a:lnTo>
                  <a:lnTo>
                    <a:pt x="217" y="75"/>
                  </a:lnTo>
                  <a:lnTo>
                    <a:pt x="198" y="88"/>
                  </a:lnTo>
                  <a:lnTo>
                    <a:pt x="179" y="102"/>
                  </a:lnTo>
                  <a:lnTo>
                    <a:pt x="161" y="116"/>
                  </a:lnTo>
                  <a:lnTo>
                    <a:pt x="144" y="131"/>
                  </a:lnTo>
                  <a:lnTo>
                    <a:pt x="127" y="148"/>
                  </a:lnTo>
                  <a:lnTo>
                    <a:pt x="112" y="164"/>
                  </a:lnTo>
                  <a:lnTo>
                    <a:pt x="98" y="182"/>
                  </a:lnTo>
                  <a:lnTo>
                    <a:pt x="84" y="201"/>
                  </a:lnTo>
                  <a:lnTo>
                    <a:pt x="71" y="220"/>
                  </a:lnTo>
                  <a:lnTo>
                    <a:pt x="59" y="240"/>
                  </a:lnTo>
                  <a:lnTo>
                    <a:pt x="48" y="261"/>
                  </a:lnTo>
                  <a:lnTo>
                    <a:pt x="39" y="282"/>
                  </a:lnTo>
                  <a:lnTo>
                    <a:pt x="30" y="304"/>
                  </a:lnTo>
                  <a:lnTo>
                    <a:pt x="21" y="327"/>
                  </a:lnTo>
                  <a:lnTo>
                    <a:pt x="15" y="350"/>
                  </a:lnTo>
                  <a:lnTo>
                    <a:pt x="9" y="375"/>
                  </a:lnTo>
                  <a:lnTo>
                    <a:pt x="5" y="399"/>
                  </a:lnTo>
                  <a:lnTo>
                    <a:pt x="2" y="425"/>
                  </a:lnTo>
                  <a:lnTo>
                    <a:pt x="0" y="451"/>
                  </a:lnTo>
                  <a:lnTo>
                    <a:pt x="0" y="478"/>
                  </a:lnTo>
                  <a:lnTo>
                    <a:pt x="0" y="478"/>
                  </a:lnTo>
                  <a:lnTo>
                    <a:pt x="0" y="504"/>
                  </a:lnTo>
                  <a:lnTo>
                    <a:pt x="2" y="531"/>
                  </a:lnTo>
                  <a:lnTo>
                    <a:pt x="5" y="556"/>
                  </a:lnTo>
                  <a:lnTo>
                    <a:pt x="9" y="580"/>
                  </a:lnTo>
                  <a:lnTo>
                    <a:pt x="15" y="605"/>
                  </a:lnTo>
                  <a:lnTo>
                    <a:pt x="21" y="628"/>
                  </a:lnTo>
                  <a:lnTo>
                    <a:pt x="30" y="651"/>
                  </a:lnTo>
                  <a:lnTo>
                    <a:pt x="39" y="673"/>
                  </a:lnTo>
                  <a:lnTo>
                    <a:pt x="48" y="694"/>
                  </a:lnTo>
                  <a:lnTo>
                    <a:pt x="59" y="716"/>
                  </a:lnTo>
                  <a:lnTo>
                    <a:pt x="71" y="735"/>
                  </a:lnTo>
                  <a:lnTo>
                    <a:pt x="84" y="755"/>
                  </a:lnTo>
                  <a:lnTo>
                    <a:pt x="98" y="773"/>
                  </a:lnTo>
                  <a:lnTo>
                    <a:pt x="112" y="791"/>
                  </a:lnTo>
                  <a:lnTo>
                    <a:pt x="127" y="809"/>
                  </a:lnTo>
                  <a:lnTo>
                    <a:pt x="144" y="824"/>
                  </a:lnTo>
                  <a:lnTo>
                    <a:pt x="161" y="839"/>
                  </a:lnTo>
                  <a:lnTo>
                    <a:pt x="179" y="853"/>
                  </a:lnTo>
                  <a:lnTo>
                    <a:pt x="198" y="868"/>
                  </a:lnTo>
                  <a:lnTo>
                    <a:pt x="217" y="880"/>
                  </a:lnTo>
                  <a:lnTo>
                    <a:pt x="237" y="892"/>
                  </a:lnTo>
                  <a:lnTo>
                    <a:pt x="258" y="902"/>
                  </a:lnTo>
                  <a:lnTo>
                    <a:pt x="279" y="912"/>
                  </a:lnTo>
                  <a:lnTo>
                    <a:pt x="302" y="922"/>
                  </a:lnTo>
                  <a:lnTo>
                    <a:pt x="324" y="930"/>
                  </a:lnTo>
                  <a:lnTo>
                    <a:pt x="346" y="936"/>
                  </a:lnTo>
                  <a:lnTo>
                    <a:pt x="371" y="942"/>
                  </a:lnTo>
                  <a:lnTo>
                    <a:pt x="394" y="947"/>
                  </a:lnTo>
                  <a:lnTo>
                    <a:pt x="419" y="951"/>
                  </a:lnTo>
                  <a:lnTo>
                    <a:pt x="444" y="953"/>
                  </a:lnTo>
                  <a:lnTo>
                    <a:pt x="469" y="955"/>
                  </a:lnTo>
                  <a:lnTo>
                    <a:pt x="495" y="956"/>
                  </a:lnTo>
                  <a:lnTo>
                    <a:pt x="495" y="956"/>
                  </a:lnTo>
                  <a:lnTo>
                    <a:pt x="522" y="955"/>
                  </a:lnTo>
                  <a:lnTo>
                    <a:pt x="548" y="953"/>
                  </a:lnTo>
                  <a:lnTo>
                    <a:pt x="575" y="950"/>
                  </a:lnTo>
                  <a:lnTo>
                    <a:pt x="601" y="946"/>
                  </a:lnTo>
                  <a:lnTo>
                    <a:pt x="627" y="940"/>
                  </a:lnTo>
                  <a:lnTo>
                    <a:pt x="652" y="933"/>
                  </a:lnTo>
                  <a:lnTo>
                    <a:pt x="677" y="924"/>
                  </a:lnTo>
                  <a:lnTo>
                    <a:pt x="702" y="913"/>
                  </a:lnTo>
                  <a:lnTo>
                    <a:pt x="725" y="902"/>
                  </a:lnTo>
                  <a:lnTo>
                    <a:pt x="750" y="889"/>
                  </a:lnTo>
                  <a:lnTo>
                    <a:pt x="772" y="874"/>
                  </a:lnTo>
                  <a:lnTo>
                    <a:pt x="796" y="857"/>
                  </a:lnTo>
                  <a:lnTo>
                    <a:pt x="817" y="839"/>
                  </a:lnTo>
                  <a:lnTo>
                    <a:pt x="839" y="819"/>
                  </a:lnTo>
                  <a:lnTo>
                    <a:pt x="860" y="797"/>
                  </a:lnTo>
                  <a:lnTo>
                    <a:pt x="880" y="774"/>
                  </a:lnTo>
                  <a:lnTo>
                    <a:pt x="717" y="651"/>
                  </a:lnTo>
                  <a:lnTo>
                    <a:pt x="717" y="651"/>
                  </a:lnTo>
                  <a:lnTo>
                    <a:pt x="706" y="663"/>
                  </a:lnTo>
                  <a:lnTo>
                    <a:pt x="695" y="676"/>
                  </a:lnTo>
                  <a:lnTo>
                    <a:pt x="683" y="687"/>
                  </a:lnTo>
                  <a:lnTo>
                    <a:pt x="670" y="700"/>
                  </a:lnTo>
                  <a:lnTo>
                    <a:pt x="658" y="710"/>
                  </a:lnTo>
                  <a:lnTo>
                    <a:pt x="645" y="720"/>
                  </a:lnTo>
                  <a:lnTo>
                    <a:pt x="631" y="730"/>
                  </a:lnTo>
                  <a:lnTo>
                    <a:pt x="615" y="738"/>
                  </a:lnTo>
                  <a:lnTo>
                    <a:pt x="600" y="746"/>
                  </a:lnTo>
                  <a:lnTo>
                    <a:pt x="585" y="754"/>
                  </a:lnTo>
                  <a:lnTo>
                    <a:pt x="568" y="760"/>
                  </a:lnTo>
                  <a:lnTo>
                    <a:pt x="550" y="765"/>
                  </a:lnTo>
                  <a:lnTo>
                    <a:pt x="532" y="768"/>
                  </a:lnTo>
                  <a:lnTo>
                    <a:pt x="514" y="771"/>
                  </a:lnTo>
                  <a:lnTo>
                    <a:pt x="493" y="773"/>
                  </a:lnTo>
                  <a:lnTo>
                    <a:pt x="473" y="774"/>
                  </a:lnTo>
                  <a:lnTo>
                    <a:pt x="473" y="774"/>
                  </a:lnTo>
                  <a:lnTo>
                    <a:pt x="448" y="773"/>
                  </a:lnTo>
                  <a:lnTo>
                    <a:pt x="426" y="770"/>
                  </a:lnTo>
                  <a:lnTo>
                    <a:pt x="403" y="766"/>
                  </a:lnTo>
                  <a:lnTo>
                    <a:pt x="382" y="759"/>
                  </a:lnTo>
                  <a:lnTo>
                    <a:pt x="362" y="751"/>
                  </a:lnTo>
                  <a:lnTo>
                    <a:pt x="342" y="740"/>
                  </a:lnTo>
                  <a:lnTo>
                    <a:pt x="325" y="729"/>
                  </a:lnTo>
                  <a:lnTo>
                    <a:pt x="308" y="716"/>
                  </a:lnTo>
                  <a:lnTo>
                    <a:pt x="292" y="702"/>
                  </a:lnTo>
                  <a:lnTo>
                    <a:pt x="278" y="685"/>
                  </a:lnTo>
                  <a:lnTo>
                    <a:pt x="265" y="667"/>
                  </a:lnTo>
                  <a:lnTo>
                    <a:pt x="254" y="648"/>
                  </a:lnTo>
                  <a:lnTo>
                    <a:pt x="245" y="627"/>
                  </a:lnTo>
                  <a:lnTo>
                    <a:pt x="237" y="605"/>
                  </a:lnTo>
                  <a:lnTo>
                    <a:pt x="231" y="581"/>
                  </a:lnTo>
                  <a:lnTo>
                    <a:pt x="227" y="557"/>
                  </a:lnTo>
                  <a:lnTo>
                    <a:pt x="922" y="5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32"/>
            <p:cNvSpPr>
              <a:spLocks/>
            </p:cNvSpPr>
            <p:nvPr/>
          </p:nvSpPr>
          <p:spPr bwMode="auto">
            <a:xfrm>
              <a:off x="6078538" y="5346700"/>
              <a:ext cx="461962" cy="73977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228" y="22"/>
                </a:cxn>
                <a:cxn ang="0">
                  <a:pos x="228" y="167"/>
                </a:cxn>
                <a:cxn ang="0">
                  <a:pos x="232" y="167"/>
                </a:cxn>
                <a:cxn ang="0">
                  <a:pos x="232" y="167"/>
                </a:cxn>
                <a:cxn ang="0">
                  <a:pos x="241" y="148"/>
                </a:cxn>
                <a:cxn ang="0">
                  <a:pos x="252" y="129"/>
                </a:cxn>
                <a:cxn ang="0">
                  <a:pos x="265" y="112"/>
                </a:cxn>
                <a:cxn ang="0">
                  <a:pos x="278" y="97"/>
                </a:cxn>
                <a:cxn ang="0">
                  <a:pos x="292" y="81"/>
                </a:cxn>
                <a:cxn ang="0">
                  <a:pos x="307" y="68"/>
                </a:cxn>
                <a:cxn ang="0">
                  <a:pos x="324" y="55"/>
                </a:cxn>
                <a:cxn ang="0">
                  <a:pos x="340" y="44"/>
                </a:cxn>
                <a:cxn ang="0">
                  <a:pos x="358" y="34"/>
                </a:cxn>
                <a:cxn ang="0">
                  <a:pos x="377" y="25"/>
                </a:cxn>
                <a:cxn ang="0">
                  <a:pos x="396" y="17"/>
                </a:cxn>
                <a:cxn ang="0">
                  <a:pos x="415" y="11"/>
                </a:cxn>
                <a:cxn ang="0">
                  <a:pos x="436" y="6"/>
                </a:cxn>
                <a:cxn ang="0">
                  <a:pos x="457" y="3"/>
                </a:cxn>
                <a:cxn ang="0">
                  <a:pos x="480" y="0"/>
                </a:cxn>
                <a:cxn ang="0">
                  <a:pos x="501" y="0"/>
                </a:cxn>
                <a:cxn ang="0">
                  <a:pos x="501" y="0"/>
                </a:cxn>
                <a:cxn ang="0">
                  <a:pos x="522" y="1"/>
                </a:cxn>
                <a:cxn ang="0">
                  <a:pos x="543" y="3"/>
                </a:cxn>
                <a:cxn ang="0">
                  <a:pos x="563" y="8"/>
                </a:cxn>
                <a:cxn ang="0">
                  <a:pos x="583" y="13"/>
                </a:cxn>
                <a:cxn ang="0">
                  <a:pos x="583" y="233"/>
                </a:cxn>
                <a:cxn ang="0">
                  <a:pos x="583" y="233"/>
                </a:cxn>
                <a:cxn ang="0">
                  <a:pos x="555" y="226"/>
                </a:cxn>
                <a:cxn ang="0">
                  <a:pos x="528" y="221"/>
                </a:cxn>
                <a:cxn ang="0">
                  <a:pos x="500" y="218"/>
                </a:cxn>
                <a:cxn ang="0">
                  <a:pos x="486" y="217"/>
                </a:cxn>
                <a:cxn ang="0">
                  <a:pos x="473" y="216"/>
                </a:cxn>
                <a:cxn ang="0">
                  <a:pos x="473" y="216"/>
                </a:cxn>
                <a:cxn ang="0">
                  <a:pos x="453" y="217"/>
                </a:cxn>
                <a:cxn ang="0">
                  <a:pos x="435" y="218"/>
                </a:cxn>
                <a:cxn ang="0">
                  <a:pos x="418" y="221"/>
                </a:cxn>
                <a:cxn ang="0">
                  <a:pos x="400" y="224"/>
                </a:cxn>
                <a:cxn ang="0">
                  <a:pos x="385" y="228"/>
                </a:cxn>
                <a:cxn ang="0">
                  <a:pos x="371" y="233"/>
                </a:cxn>
                <a:cxn ang="0">
                  <a:pos x="356" y="238"/>
                </a:cxn>
                <a:cxn ang="0">
                  <a:pos x="344" y="245"/>
                </a:cxn>
                <a:cxn ang="0">
                  <a:pos x="332" y="252"/>
                </a:cxn>
                <a:cxn ang="0">
                  <a:pos x="321" y="260"/>
                </a:cxn>
                <a:cxn ang="0">
                  <a:pos x="311" y="268"/>
                </a:cxn>
                <a:cxn ang="0">
                  <a:pos x="301" y="276"/>
                </a:cxn>
                <a:cxn ang="0">
                  <a:pos x="292" y="284"/>
                </a:cxn>
                <a:cxn ang="0">
                  <a:pos x="284" y="293"/>
                </a:cxn>
                <a:cxn ang="0">
                  <a:pos x="277" y="302"/>
                </a:cxn>
                <a:cxn ang="0">
                  <a:pos x="270" y="313"/>
                </a:cxn>
                <a:cxn ang="0">
                  <a:pos x="259" y="332"/>
                </a:cxn>
                <a:cxn ang="0">
                  <a:pos x="248" y="351"/>
                </a:cxn>
                <a:cxn ang="0">
                  <a:pos x="241" y="371"/>
                </a:cxn>
                <a:cxn ang="0">
                  <a:pos x="236" y="389"/>
                </a:cxn>
                <a:cxn ang="0">
                  <a:pos x="232" y="406"/>
                </a:cxn>
                <a:cxn ang="0">
                  <a:pos x="230" y="422"/>
                </a:cxn>
                <a:cxn ang="0">
                  <a:pos x="228" y="435"/>
                </a:cxn>
                <a:cxn ang="0">
                  <a:pos x="228" y="446"/>
                </a:cxn>
                <a:cxn ang="0">
                  <a:pos x="228" y="933"/>
                </a:cxn>
                <a:cxn ang="0">
                  <a:pos x="0" y="933"/>
                </a:cxn>
                <a:cxn ang="0">
                  <a:pos x="0" y="22"/>
                </a:cxn>
              </a:cxnLst>
              <a:rect l="0" t="0" r="r" b="b"/>
              <a:pathLst>
                <a:path w="583" h="933">
                  <a:moveTo>
                    <a:pt x="0" y="22"/>
                  </a:moveTo>
                  <a:lnTo>
                    <a:pt x="228" y="22"/>
                  </a:lnTo>
                  <a:lnTo>
                    <a:pt x="228" y="167"/>
                  </a:lnTo>
                  <a:lnTo>
                    <a:pt x="232" y="167"/>
                  </a:lnTo>
                  <a:lnTo>
                    <a:pt x="232" y="167"/>
                  </a:lnTo>
                  <a:lnTo>
                    <a:pt x="241" y="148"/>
                  </a:lnTo>
                  <a:lnTo>
                    <a:pt x="252" y="129"/>
                  </a:lnTo>
                  <a:lnTo>
                    <a:pt x="265" y="112"/>
                  </a:lnTo>
                  <a:lnTo>
                    <a:pt x="278" y="97"/>
                  </a:lnTo>
                  <a:lnTo>
                    <a:pt x="292" y="81"/>
                  </a:lnTo>
                  <a:lnTo>
                    <a:pt x="307" y="68"/>
                  </a:lnTo>
                  <a:lnTo>
                    <a:pt x="324" y="55"/>
                  </a:lnTo>
                  <a:lnTo>
                    <a:pt x="340" y="44"/>
                  </a:lnTo>
                  <a:lnTo>
                    <a:pt x="358" y="34"/>
                  </a:lnTo>
                  <a:lnTo>
                    <a:pt x="377" y="25"/>
                  </a:lnTo>
                  <a:lnTo>
                    <a:pt x="396" y="17"/>
                  </a:lnTo>
                  <a:lnTo>
                    <a:pt x="415" y="11"/>
                  </a:lnTo>
                  <a:lnTo>
                    <a:pt x="436" y="6"/>
                  </a:lnTo>
                  <a:lnTo>
                    <a:pt x="457" y="3"/>
                  </a:lnTo>
                  <a:lnTo>
                    <a:pt x="480" y="0"/>
                  </a:lnTo>
                  <a:lnTo>
                    <a:pt x="501" y="0"/>
                  </a:lnTo>
                  <a:lnTo>
                    <a:pt x="501" y="0"/>
                  </a:lnTo>
                  <a:lnTo>
                    <a:pt x="522" y="1"/>
                  </a:lnTo>
                  <a:lnTo>
                    <a:pt x="543" y="3"/>
                  </a:lnTo>
                  <a:lnTo>
                    <a:pt x="563" y="8"/>
                  </a:lnTo>
                  <a:lnTo>
                    <a:pt x="583" y="13"/>
                  </a:lnTo>
                  <a:lnTo>
                    <a:pt x="583" y="233"/>
                  </a:lnTo>
                  <a:lnTo>
                    <a:pt x="583" y="233"/>
                  </a:lnTo>
                  <a:lnTo>
                    <a:pt x="555" y="226"/>
                  </a:lnTo>
                  <a:lnTo>
                    <a:pt x="528" y="221"/>
                  </a:lnTo>
                  <a:lnTo>
                    <a:pt x="500" y="218"/>
                  </a:lnTo>
                  <a:lnTo>
                    <a:pt x="486" y="217"/>
                  </a:lnTo>
                  <a:lnTo>
                    <a:pt x="473" y="216"/>
                  </a:lnTo>
                  <a:lnTo>
                    <a:pt x="473" y="216"/>
                  </a:lnTo>
                  <a:lnTo>
                    <a:pt x="453" y="217"/>
                  </a:lnTo>
                  <a:lnTo>
                    <a:pt x="435" y="218"/>
                  </a:lnTo>
                  <a:lnTo>
                    <a:pt x="418" y="221"/>
                  </a:lnTo>
                  <a:lnTo>
                    <a:pt x="400" y="224"/>
                  </a:lnTo>
                  <a:lnTo>
                    <a:pt x="385" y="228"/>
                  </a:lnTo>
                  <a:lnTo>
                    <a:pt x="371" y="233"/>
                  </a:lnTo>
                  <a:lnTo>
                    <a:pt x="356" y="238"/>
                  </a:lnTo>
                  <a:lnTo>
                    <a:pt x="344" y="245"/>
                  </a:lnTo>
                  <a:lnTo>
                    <a:pt x="332" y="252"/>
                  </a:lnTo>
                  <a:lnTo>
                    <a:pt x="321" y="260"/>
                  </a:lnTo>
                  <a:lnTo>
                    <a:pt x="311" y="268"/>
                  </a:lnTo>
                  <a:lnTo>
                    <a:pt x="301" y="276"/>
                  </a:lnTo>
                  <a:lnTo>
                    <a:pt x="292" y="284"/>
                  </a:lnTo>
                  <a:lnTo>
                    <a:pt x="284" y="293"/>
                  </a:lnTo>
                  <a:lnTo>
                    <a:pt x="277" y="302"/>
                  </a:lnTo>
                  <a:lnTo>
                    <a:pt x="270" y="313"/>
                  </a:lnTo>
                  <a:lnTo>
                    <a:pt x="259" y="332"/>
                  </a:lnTo>
                  <a:lnTo>
                    <a:pt x="248" y="351"/>
                  </a:lnTo>
                  <a:lnTo>
                    <a:pt x="241" y="371"/>
                  </a:lnTo>
                  <a:lnTo>
                    <a:pt x="236" y="389"/>
                  </a:lnTo>
                  <a:lnTo>
                    <a:pt x="232" y="406"/>
                  </a:lnTo>
                  <a:lnTo>
                    <a:pt x="230" y="422"/>
                  </a:lnTo>
                  <a:lnTo>
                    <a:pt x="228" y="435"/>
                  </a:lnTo>
                  <a:lnTo>
                    <a:pt x="228" y="446"/>
                  </a:lnTo>
                  <a:lnTo>
                    <a:pt x="228" y="933"/>
                  </a:lnTo>
                  <a:lnTo>
                    <a:pt x="0" y="933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3"/>
            <p:cNvSpPr>
              <a:spLocks noEditPoints="1"/>
            </p:cNvSpPr>
            <p:nvPr/>
          </p:nvSpPr>
          <p:spPr bwMode="auto">
            <a:xfrm>
              <a:off x="6550025" y="5346700"/>
              <a:ext cx="781050" cy="1101725"/>
            </a:xfrm>
            <a:custGeom>
              <a:avLst/>
              <a:gdLst/>
              <a:ahLst/>
              <a:cxnLst>
                <a:cxn ang="0">
                  <a:pos x="735" y="120"/>
                </a:cxn>
                <a:cxn ang="0">
                  <a:pos x="629" y="38"/>
                </a:cxn>
                <a:cxn ang="0">
                  <a:pos x="497" y="2"/>
                </a:cxn>
                <a:cxn ang="0">
                  <a:pos x="374" y="5"/>
                </a:cxn>
                <a:cxn ang="0">
                  <a:pos x="240" y="46"/>
                </a:cxn>
                <a:cxn ang="0">
                  <a:pos x="134" y="122"/>
                </a:cxn>
                <a:cxn ang="0">
                  <a:pos x="58" y="227"/>
                </a:cxn>
                <a:cxn ang="0">
                  <a:pos x="12" y="356"/>
                </a:cxn>
                <a:cxn ang="0">
                  <a:pos x="0" y="478"/>
                </a:cxn>
                <a:cxn ang="0">
                  <a:pos x="18" y="616"/>
                </a:cxn>
                <a:cxn ang="0">
                  <a:pos x="71" y="738"/>
                </a:cxn>
                <a:cxn ang="0">
                  <a:pos x="156" y="838"/>
                </a:cxn>
                <a:cxn ang="0">
                  <a:pos x="268" y="907"/>
                </a:cxn>
                <a:cxn ang="0">
                  <a:pos x="403" y="942"/>
                </a:cxn>
                <a:cxn ang="0">
                  <a:pos x="517" y="940"/>
                </a:cxn>
                <a:cxn ang="0">
                  <a:pos x="640" y="902"/>
                </a:cxn>
                <a:cxn ang="0">
                  <a:pos x="738" y="828"/>
                </a:cxn>
                <a:cxn ang="0">
                  <a:pos x="752" y="943"/>
                </a:cxn>
                <a:cxn ang="0">
                  <a:pos x="722" y="1054"/>
                </a:cxn>
                <a:cxn ang="0">
                  <a:pos x="675" y="1117"/>
                </a:cxn>
                <a:cxn ang="0">
                  <a:pos x="605" y="1161"/>
                </a:cxn>
                <a:cxn ang="0">
                  <a:pos x="506" y="1182"/>
                </a:cxn>
                <a:cxn ang="0">
                  <a:pos x="398" y="1178"/>
                </a:cxn>
                <a:cxn ang="0">
                  <a:pos x="278" y="1141"/>
                </a:cxn>
                <a:cxn ang="0">
                  <a:pos x="171" y="1067"/>
                </a:cxn>
                <a:cxn ang="0">
                  <a:pos x="93" y="1294"/>
                </a:cxn>
                <a:cxn ang="0">
                  <a:pos x="257" y="1364"/>
                </a:cxn>
                <a:cxn ang="0">
                  <a:pos x="437" y="1388"/>
                </a:cxn>
                <a:cxn ang="0">
                  <a:pos x="593" y="1379"/>
                </a:cxn>
                <a:cxn ang="0">
                  <a:pos x="746" y="1330"/>
                </a:cxn>
                <a:cxn ang="0">
                  <a:pos x="859" y="1242"/>
                </a:cxn>
                <a:cxn ang="0">
                  <a:pos x="935" y="1121"/>
                </a:cxn>
                <a:cxn ang="0">
                  <a:pos x="976" y="968"/>
                </a:cxn>
                <a:cxn ang="0">
                  <a:pos x="767" y="22"/>
                </a:cxn>
                <a:cxn ang="0">
                  <a:pos x="440" y="734"/>
                </a:cxn>
                <a:cxn ang="0">
                  <a:pos x="366" y="708"/>
                </a:cxn>
                <a:cxn ang="0">
                  <a:pos x="303" y="662"/>
                </a:cxn>
                <a:cxn ang="0">
                  <a:pos x="259" y="601"/>
                </a:cxn>
                <a:cxn ang="0">
                  <a:pos x="233" y="529"/>
                </a:cxn>
                <a:cxn ang="0">
                  <a:pos x="228" y="461"/>
                </a:cxn>
                <a:cxn ang="0">
                  <a:pos x="243" y="378"/>
                </a:cxn>
                <a:cxn ang="0">
                  <a:pos x="278" y="309"/>
                </a:cxn>
                <a:cxn ang="0">
                  <a:pos x="332" y="256"/>
                </a:cxn>
                <a:cxn ang="0">
                  <a:pos x="400" y="220"/>
                </a:cxn>
                <a:cxn ang="0">
                  <a:pos x="483" y="205"/>
                </a:cxn>
                <a:cxn ang="0">
                  <a:pos x="556" y="210"/>
                </a:cxn>
                <a:cxn ang="0">
                  <a:pos x="633" y="235"/>
                </a:cxn>
                <a:cxn ang="0">
                  <a:pos x="694" y="279"/>
                </a:cxn>
                <a:cxn ang="0">
                  <a:pos x="737" y="340"/>
                </a:cxn>
                <a:cxn ang="0">
                  <a:pos x="762" y="415"/>
                </a:cxn>
                <a:cxn ang="0">
                  <a:pos x="765" y="500"/>
                </a:cxn>
                <a:cxn ang="0">
                  <a:pos x="744" y="590"/>
                </a:cxn>
                <a:cxn ang="0">
                  <a:pos x="703" y="654"/>
                </a:cxn>
                <a:cxn ang="0">
                  <a:pos x="645" y="702"/>
                </a:cxn>
                <a:cxn ang="0">
                  <a:pos x="569" y="731"/>
                </a:cxn>
                <a:cxn ang="0">
                  <a:pos x="495" y="739"/>
                </a:cxn>
              </a:cxnLst>
              <a:rect l="0" t="0" r="r" b="b"/>
              <a:pathLst>
                <a:path w="983" h="1388">
                  <a:moveTo>
                    <a:pt x="767" y="22"/>
                  </a:moveTo>
                  <a:lnTo>
                    <a:pt x="767" y="159"/>
                  </a:lnTo>
                  <a:lnTo>
                    <a:pt x="763" y="159"/>
                  </a:lnTo>
                  <a:lnTo>
                    <a:pt x="763" y="159"/>
                  </a:lnTo>
                  <a:lnTo>
                    <a:pt x="750" y="139"/>
                  </a:lnTo>
                  <a:lnTo>
                    <a:pt x="735" y="120"/>
                  </a:lnTo>
                  <a:lnTo>
                    <a:pt x="720" y="104"/>
                  </a:lnTo>
                  <a:lnTo>
                    <a:pt x="704" y="88"/>
                  </a:lnTo>
                  <a:lnTo>
                    <a:pt x="687" y="73"/>
                  </a:lnTo>
                  <a:lnTo>
                    <a:pt x="668" y="60"/>
                  </a:lnTo>
                  <a:lnTo>
                    <a:pt x="649" y="49"/>
                  </a:lnTo>
                  <a:lnTo>
                    <a:pt x="629" y="38"/>
                  </a:lnTo>
                  <a:lnTo>
                    <a:pt x="609" y="28"/>
                  </a:lnTo>
                  <a:lnTo>
                    <a:pt x="588" y="21"/>
                  </a:lnTo>
                  <a:lnTo>
                    <a:pt x="565" y="14"/>
                  </a:lnTo>
                  <a:lnTo>
                    <a:pt x="543" y="9"/>
                  </a:lnTo>
                  <a:lnTo>
                    <a:pt x="520" y="5"/>
                  </a:lnTo>
                  <a:lnTo>
                    <a:pt x="497" y="2"/>
                  </a:lnTo>
                  <a:lnTo>
                    <a:pt x="474" y="0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24" y="0"/>
                  </a:lnTo>
                  <a:lnTo>
                    <a:pt x="398" y="2"/>
                  </a:lnTo>
                  <a:lnTo>
                    <a:pt x="374" y="5"/>
                  </a:lnTo>
                  <a:lnTo>
                    <a:pt x="350" y="9"/>
                  </a:lnTo>
                  <a:lnTo>
                    <a:pt x="327" y="14"/>
                  </a:lnTo>
                  <a:lnTo>
                    <a:pt x="304" y="20"/>
                  </a:lnTo>
                  <a:lnTo>
                    <a:pt x="282" y="28"/>
                  </a:lnTo>
                  <a:lnTo>
                    <a:pt x="261" y="37"/>
                  </a:lnTo>
                  <a:lnTo>
                    <a:pt x="240" y="46"/>
                  </a:lnTo>
                  <a:lnTo>
                    <a:pt x="221" y="56"/>
                  </a:lnTo>
                  <a:lnTo>
                    <a:pt x="203" y="68"/>
                  </a:lnTo>
                  <a:lnTo>
                    <a:pt x="184" y="80"/>
                  </a:lnTo>
                  <a:lnTo>
                    <a:pt x="167" y="93"/>
                  </a:lnTo>
                  <a:lnTo>
                    <a:pt x="151" y="107"/>
                  </a:lnTo>
                  <a:lnTo>
                    <a:pt x="134" y="122"/>
                  </a:lnTo>
                  <a:lnTo>
                    <a:pt x="120" y="137"/>
                  </a:lnTo>
                  <a:lnTo>
                    <a:pt x="106" y="154"/>
                  </a:lnTo>
                  <a:lnTo>
                    <a:pt x="93" y="171"/>
                  </a:lnTo>
                  <a:lnTo>
                    <a:pt x="80" y="189"/>
                  </a:lnTo>
                  <a:lnTo>
                    <a:pt x="68" y="208"/>
                  </a:lnTo>
                  <a:lnTo>
                    <a:pt x="58" y="227"/>
                  </a:lnTo>
                  <a:lnTo>
                    <a:pt x="48" y="247"/>
                  </a:lnTo>
                  <a:lnTo>
                    <a:pt x="39" y="268"/>
                  </a:lnTo>
                  <a:lnTo>
                    <a:pt x="30" y="289"/>
                  </a:lnTo>
                  <a:lnTo>
                    <a:pt x="23" y="312"/>
                  </a:lnTo>
                  <a:lnTo>
                    <a:pt x="17" y="334"/>
                  </a:lnTo>
                  <a:lnTo>
                    <a:pt x="12" y="356"/>
                  </a:lnTo>
                  <a:lnTo>
                    <a:pt x="8" y="380"/>
                  </a:lnTo>
                  <a:lnTo>
                    <a:pt x="5" y="403"/>
                  </a:lnTo>
                  <a:lnTo>
                    <a:pt x="2" y="428"/>
                  </a:lnTo>
                  <a:lnTo>
                    <a:pt x="1" y="452"/>
                  </a:lnTo>
                  <a:lnTo>
                    <a:pt x="0" y="478"/>
                  </a:lnTo>
                  <a:lnTo>
                    <a:pt x="0" y="478"/>
                  </a:lnTo>
                  <a:lnTo>
                    <a:pt x="1" y="502"/>
                  </a:lnTo>
                  <a:lnTo>
                    <a:pt x="2" y="525"/>
                  </a:lnTo>
                  <a:lnTo>
                    <a:pt x="5" y="549"/>
                  </a:lnTo>
                  <a:lnTo>
                    <a:pt x="8" y="571"/>
                  </a:lnTo>
                  <a:lnTo>
                    <a:pt x="13" y="595"/>
                  </a:lnTo>
                  <a:lnTo>
                    <a:pt x="18" y="616"/>
                  </a:lnTo>
                  <a:lnTo>
                    <a:pt x="25" y="638"/>
                  </a:lnTo>
                  <a:lnTo>
                    <a:pt x="32" y="659"/>
                  </a:lnTo>
                  <a:lnTo>
                    <a:pt x="41" y="680"/>
                  </a:lnTo>
                  <a:lnTo>
                    <a:pt x="50" y="701"/>
                  </a:lnTo>
                  <a:lnTo>
                    <a:pt x="60" y="720"/>
                  </a:lnTo>
                  <a:lnTo>
                    <a:pt x="71" y="738"/>
                  </a:lnTo>
                  <a:lnTo>
                    <a:pt x="83" y="757"/>
                  </a:lnTo>
                  <a:lnTo>
                    <a:pt x="97" y="775"/>
                  </a:lnTo>
                  <a:lnTo>
                    <a:pt x="110" y="791"/>
                  </a:lnTo>
                  <a:lnTo>
                    <a:pt x="124" y="808"/>
                  </a:lnTo>
                  <a:lnTo>
                    <a:pt x="139" y="823"/>
                  </a:lnTo>
                  <a:lnTo>
                    <a:pt x="156" y="838"/>
                  </a:lnTo>
                  <a:lnTo>
                    <a:pt x="172" y="851"/>
                  </a:lnTo>
                  <a:lnTo>
                    <a:pt x="190" y="865"/>
                  </a:lnTo>
                  <a:lnTo>
                    <a:pt x="209" y="877"/>
                  </a:lnTo>
                  <a:lnTo>
                    <a:pt x="227" y="888"/>
                  </a:lnTo>
                  <a:lnTo>
                    <a:pt x="247" y="898"/>
                  </a:lnTo>
                  <a:lnTo>
                    <a:pt x="268" y="907"/>
                  </a:lnTo>
                  <a:lnTo>
                    <a:pt x="288" y="916"/>
                  </a:lnTo>
                  <a:lnTo>
                    <a:pt x="311" y="924"/>
                  </a:lnTo>
                  <a:lnTo>
                    <a:pt x="333" y="930"/>
                  </a:lnTo>
                  <a:lnTo>
                    <a:pt x="355" y="935"/>
                  </a:lnTo>
                  <a:lnTo>
                    <a:pt x="379" y="939"/>
                  </a:lnTo>
                  <a:lnTo>
                    <a:pt x="403" y="942"/>
                  </a:lnTo>
                  <a:lnTo>
                    <a:pt x="429" y="944"/>
                  </a:lnTo>
                  <a:lnTo>
                    <a:pt x="453" y="944"/>
                  </a:lnTo>
                  <a:lnTo>
                    <a:pt x="453" y="944"/>
                  </a:lnTo>
                  <a:lnTo>
                    <a:pt x="475" y="944"/>
                  </a:lnTo>
                  <a:lnTo>
                    <a:pt x="496" y="942"/>
                  </a:lnTo>
                  <a:lnTo>
                    <a:pt x="517" y="940"/>
                  </a:lnTo>
                  <a:lnTo>
                    <a:pt x="539" y="936"/>
                  </a:lnTo>
                  <a:lnTo>
                    <a:pt x="560" y="932"/>
                  </a:lnTo>
                  <a:lnTo>
                    <a:pt x="581" y="926"/>
                  </a:lnTo>
                  <a:lnTo>
                    <a:pt x="601" y="920"/>
                  </a:lnTo>
                  <a:lnTo>
                    <a:pt x="620" y="911"/>
                  </a:lnTo>
                  <a:lnTo>
                    <a:pt x="640" y="902"/>
                  </a:lnTo>
                  <a:lnTo>
                    <a:pt x="658" y="893"/>
                  </a:lnTo>
                  <a:lnTo>
                    <a:pt x="676" y="882"/>
                  </a:lnTo>
                  <a:lnTo>
                    <a:pt x="693" y="870"/>
                  </a:lnTo>
                  <a:lnTo>
                    <a:pt x="709" y="857"/>
                  </a:lnTo>
                  <a:lnTo>
                    <a:pt x="724" y="843"/>
                  </a:lnTo>
                  <a:lnTo>
                    <a:pt x="738" y="828"/>
                  </a:lnTo>
                  <a:lnTo>
                    <a:pt x="752" y="812"/>
                  </a:lnTo>
                  <a:lnTo>
                    <a:pt x="756" y="812"/>
                  </a:lnTo>
                  <a:lnTo>
                    <a:pt x="756" y="878"/>
                  </a:lnTo>
                  <a:lnTo>
                    <a:pt x="756" y="878"/>
                  </a:lnTo>
                  <a:lnTo>
                    <a:pt x="755" y="911"/>
                  </a:lnTo>
                  <a:lnTo>
                    <a:pt x="752" y="943"/>
                  </a:lnTo>
                  <a:lnTo>
                    <a:pt x="748" y="974"/>
                  </a:lnTo>
                  <a:lnTo>
                    <a:pt x="742" y="1002"/>
                  </a:lnTo>
                  <a:lnTo>
                    <a:pt x="737" y="1015"/>
                  </a:lnTo>
                  <a:lnTo>
                    <a:pt x="732" y="1029"/>
                  </a:lnTo>
                  <a:lnTo>
                    <a:pt x="727" y="1042"/>
                  </a:lnTo>
                  <a:lnTo>
                    <a:pt x="722" y="1054"/>
                  </a:lnTo>
                  <a:lnTo>
                    <a:pt x="716" y="1066"/>
                  </a:lnTo>
                  <a:lnTo>
                    <a:pt x="709" y="1077"/>
                  </a:lnTo>
                  <a:lnTo>
                    <a:pt x="702" y="1088"/>
                  </a:lnTo>
                  <a:lnTo>
                    <a:pt x="694" y="1099"/>
                  </a:lnTo>
                  <a:lnTo>
                    <a:pt x="685" y="1108"/>
                  </a:lnTo>
                  <a:lnTo>
                    <a:pt x="675" y="1117"/>
                  </a:lnTo>
                  <a:lnTo>
                    <a:pt x="666" y="1126"/>
                  </a:lnTo>
                  <a:lnTo>
                    <a:pt x="655" y="1134"/>
                  </a:lnTo>
                  <a:lnTo>
                    <a:pt x="644" y="1142"/>
                  </a:lnTo>
                  <a:lnTo>
                    <a:pt x="631" y="1149"/>
                  </a:lnTo>
                  <a:lnTo>
                    <a:pt x="618" y="1155"/>
                  </a:lnTo>
                  <a:lnTo>
                    <a:pt x="605" y="1161"/>
                  </a:lnTo>
                  <a:lnTo>
                    <a:pt x="591" y="1166"/>
                  </a:lnTo>
                  <a:lnTo>
                    <a:pt x="575" y="1170"/>
                  </a:lnTo>
                  <a:lnTo>
                    <a:pt x="559" y="1174"/>
                  </a:lnTo>
                  <a:lnTo>
                    <a:pt x="543" y="1177"/>
                  </a:lnTo>
                  <a:lnTo>
                    <a:pt x="525" y="1180"/>
                  </a:lnTo>
                  <a:lnTo>
                    <a:pt x="506" y="1182"/>
                  </a:lnTo>
                  <a:lnTo>
                    <a:pt x="487" y="1183"/>
                  </a:lnTo>
                  <a:lnTo>
                    <a:pt x="467" y="1183"/>
                  </a:lnTo>
                  <a:lnTo>
                    <a:pt x="467" y="1183"/>
                  </a:lnTo>
                  <a:lnTo>
                    <a:pt x="443" y="1182"/>
                  </a:lnTo>
                  <a:lnTo>
                    <a:pt x="421" y="1181"/>
                  </a:lnTo>
                  <a:lnTo>
                    <a:pt x="398" y="1178"/>
                  </a:lnTo>
                  <a:lnTo>
                    <a:pt x="377" y="1174"/>
                  </a:lnTo>
                  <a:lnTo>
                    <a:pt x="356" y="1170"/>
                  </a:lnTo>
                  <a:lnTo>
                    <a:pt x="336" y="1164"/>
                  </a:lnTo>
                  <a:lnTo>
                    <a:pt x="316" y="1157"/>
                  </a:lnTo>
                  <a:lnTo>
                    <a:pt x="296" y="1149"/>
                  </a:lnTo>
                  <a:lnTo>
                    <a:pt x="278" y="1141"/>
                  </a:lnTo>
                  <a:lnTo>
                    <a:pt x="260" y="1130"/>
                  </a:lnTo>
                  <a:lnTo>
                    <a:pt x="241" y="1120"/>
                  </a:lnTo>
                  <a:lnTo>
                    <a:pt x="223" y="1108"/>
                  </a:lnTo>
                  <a:lnTo>
                    <a:pt x="206" y="1096"/>
                  </a:lnTo>
                  <a:lnTo>
                    <a:pt x="188" y="1082"/>
                  </a:lnTo>
                  <a:lnTo>
                    <a:pt x="171" y="1067"/>
                  </a:lnTo>
                  <a:lnTo>
                    <a:pt x="154" y="1052"/>
                  </a:lnTo>
                  <a:lnTo>
                    <a:pt x="17" y="1238"/>
                  </a:lnTo>
                  <a:lnTo>
                    <a:pt x="17" y="1238"/>
                  </a:lnTo>
                  <a:lnTo>
                    <a:pt x="42" y="1259"/>
                  </a:lnTo>
                  <a:lnTo>
                    <a:pt x="67" y="1277"/>
                  </a:lnTo>
                  <a:lnTo>
                    <a:pt x="93" y="1294"/>
                  </a:lnTo>
                  <a:lnTo>
                    <a:pt x="118" y="1310"/>
                  </a:lnTo>
                  <a:lnTo>
                    <a:pt x="144" y="1324"/>
                  </a:lnTo>
                  <a:lnTo>
                    <a:pt x="172" y="1336"/>
                  </a:lnTo>
                  <a:lnTo>
                    <a:pt x="200" y="1346"/>
                  </a:lnTo>
                  <a:lnTo>
                    <a:pt x="228" y="1356"/>
                  </a:lnTo>
                  <a:lnTo>
                    <a:pt x="257" y="1364"/>
                  </a:lnTo>
                  <a:lnTo>
                    <a:pt x="286" y="1371"/>
                  </a:lnTo>
                  <a:lnTo>
                    <a:pt x="316" y="1377"/>
                  </a:lnTo>
                  <a:lnTo>
                    <a:pt x="345" y="1381"/>
                  </a:lnTo>
                  <a:lnTo>
                    <a:pt x="376" y="1384"/>
                  </a:lnTo>
                  <a:lnTo>
                    <a:pt x="406" y="1387"/>
                  </a:lnTo>
                  <a:lnTo>
                    <a:pt x="437" y="1388"/>
                  </a:lnTo>
                  <a:lnTo>
                    <a:pt x="468" y="1388"/>
                  </a:lnTo>
                  <a:lnTo>
                    <a:pt x="468" y="1388"/>
                  </a:lnTo>
                  <a:lnTo>
                    <a:pt x="501" y="1388"/>
                  </a:lnTo>
                  <a:lnTo>
                    <a:pt x="533" y="1386"/>
                  </a:lnTo>
                  <a:lnTo>
                    <a:pt x="563" y="1383"/>
                  </a:lnTo>
                  <a:lnTo>
                    <a:pt x="593" y="1379"/>
                  </a:lnTo>
                  <a:lnTo>
                    <a:pt x="621" y="1374"/>
                  </a:lnTo>
                  <a:lnTo>
                    <a:pt x="648" y="1367"/>
                  </a:lnTo>
                  <a:lnTo>
                    <a:pt x="674" y="1359"/>
                  </a:lnTo>
                  <a:lnTo>
                    <a:pt x="699" y="1350"/>
                  </a:lnTo>
                  <a:lnTo>
                    <a:pt x="722" y="1341"/>
                  </a:lnTo>
                  <a:lnTo>
                    <a:pt x="746" y="1330"/>
                  </a:lnTo>
                  <a:lnTo>
                    <a:pt x="767" y="1318"/>
                  </a:lnTo>
                  <a:lnTo>
                    <a:pt x="787" y="1304"/>
                  </a:lnTo>
                  <a:lnTo>
                    <a:pt x="807" y="1291"/>
                  </a:lnTo>
                  <a:lnTo>
                    <a:pt x="825" y="1276"/>
                  </a:lnTo>
                  <a:lnTo>
                    <a:pt x="842" y="1260"/>
                  </a:lnTo>
                  <a:lnTo>
                    <a:pt x="859" y="1242"/>
                  </a:lnTo>
                  <a:lnTo>
                    <a:pt x="874" y="1225"/>
                  </a:lnTo>
                  <a:lnTo>
                    <a:pt x="888" y="1206"/>
                  </a:lnTo>
                  <a:lnTo>
                    <a:pt x="901" y="1186"/>
                  </a:lnTo>
                  <a:lnTo>
                    <a:pt x="914" y="1165"/>
                  </a:lnTo>
                  <a:lnTo>
                    <a:pt x="925" y="1144"/>
                  </a:lnTo>
                  <a:lnTo>
                    <a:pt x="935" y="1121"/>
                  </a:lnTo>
                  <a:lnTo>
                    <a:pt x="944" y="1098"/>
                  </a:lnTo>
                  <a:lnTo>
                    <a:pt x="952" y="1073"/>
                  </a:lnTo>
                  <a:lnTo>
                    <a:pt x="960" y="1049"/>
                  </a:lnTo>
                  <a:lnTo>
                    <a:pt x="966" y="1022"/>
                  </a:lnTo>
                  <a:lnTo>
                    <a:pt x="971" y="996"/>
                  </a:lnTo>
                  <a:lnTo>
                    <a:pt x="976" y="968"/>
                  </a:lnTo>
                  <a:lnTo>
                    <a:pt x="979" y="941"/>
                  </a:lnTo>
                  <a:lnTo>
                    <a:pt x="981" y="911"/>
                  </a:lnTo>
                  <a:lnTo>
                    <a:pt x="983" y="882"/>
                  </a:lnTo>
                  <a:lnTo>
                    <a:pt x="983" y="851"/>
                  </a:lnTo>
                  <a:lnTo>
                    <a:pt x="983" y="22"/>
                  </a:lnTo>
                  <a:lnTo>
                    <a:pt x="767" y="22"/>
                  </a:lnTo>
                  <a:close/>
                  <a:moveTo>
                    <a:pt x="495" y="739"/>
                  </a:moveTo>
                  <a:lnTo>
                    <a:pt x="495" y="739"/>
                  </a:lnTo>
                  <a:lnTo>
                    <a:pt x="481" y="739"/>
                  </a:lnTo>
                  <a:lnTo>
                    <a:pt x="467" y="738"/>
                  </a:lnTo>
                  <a:lnTo>
                    <a:pt x="453" y="736"/>
                  </a:lnTo>
                  <a:lnTo>
                    <a:pt x="440" y="734"/>
                  </a:lnTo>
                  <a:lnTo>
                    <a:pt x="427" y="731"/>
                  </a:lnTo>
                  <a:lnTo>
                    <a:pt x="413" y="727"/>
                  </a:lnTo>
                  <a:lnTo>
                    <a:pt x="401" y="723"/>
                  </a:lnTo>
                  <a:lnTo>
                    <a:pt x="389" y="719"/>
                  </a:lnTo>
                  <a:lnTo>
                    <a:pt x="377" y="713"/>
                  </a:lnTo>
                  <a:lnTo>
                    <a:pt x="366" y="708"/>
                  </a:lnTo>
                  <a:lnTo>
                    <a:pt x="354" y="701"/>
                  </a:lnTo>
                  <a:lnTo>
                    <a:pt x="343" y="694"/>
                  </a:lnTo>
                  <a:lnTo>
                    <a:pt x="333" y="686"/>
                  </a:lnTo>
                  <a:lnTo>
                    <a:pt x="323" y="679"/>
                  </a:lnTo>
                  <a:lnTo>
                    <a:pt x="313" y="670"/>
                  </a:lnTo>
                  <a:lnTo>
                    <a:pt x="303" y="662"/>
                  </a:lnTo>
                  <a:lnTo>
                    <a:pt x="295" y="653"/>
                  </a:lnTo>
                  <a:lnTo>
                    <a:pt x="287" y="643"/>
                  </a:lnTo>
                  <a:lnTo>
                    <a:pt x="279" y="633"/>
                  </a:lnTo>
                  <a:lnTo>
                    <a:pt x="272" y="622"/>
                  </a:lnTo>
                  <a:lnTo>
                    <a:pt x="265" y="612"/>
                  </a:lnTo>
                  <a:lnTo>
                    <a:pt x="259" y="601"/>
                  </a:lnTo>
                  <a:lnTo>
                    <a:pt x="254" y="590"/>
                  </a:lnTo>
                  <a:lnTo>
                    <a:pt x="248" y="577"/>
                  </a:lnTo>
                  <a:lnTo>
                    <a:pt x="243" y="566"/>
                  </a:lnTo>
                  <a:lnTo>
                    <a:pt x="239" y="554"/>
                  </a:lnTo>
                  <a:lnTo>
                    <a:pt x="236" y="542"/>
                  </a:lnTo>
                  <a:lnTo>
                    <a:pt x="233" y="529"/>
                  </a:lnTo>
                  <a:lnTo>
                    <a:pt x="231" y="515"/>
                  </a:lnTo>
                  <a:lnTo>
                    <a:pt x="229" y="503"/>
                  </a:lnTo>
                  <a:lnTo>
                    <a:pt x="228" y="490"/>
                  </a:lnTo>
                  <a:lnTo>
                    <a:pt x="228" y="476"/>
                  </a:lnTo>
                  <a:lnTo>
                    <a:pt x="228" y="476"/>
                  </a:lnTo>
                  <a:lnTo>
                    <a:pt x="228" y="461"/>
                  </a:lnTo>
                  <a:lnTo>
                    <a:pt x="229" y="446"/>
                  </a:lnTo>
                  <a:lnTo>
                    <a:pt x="231" y="432"/>
                  </a:lnTo>
                  <a:lnTo>
                    <a:pt x="233" y="417"/>
                  </a:lnTo>
                  <a:lnTo>
                    <a:pt x="235" y="404"/>
                  </a:lnTo>
                  <a:lnTo>
                    <a:pt x="239" y="391"/>
                  </a:lnTo>
                  <a:lnTo>
                    <a:pt x="243" y="378"/>
                  </a:lnTo>
                  <a:lnTo>
                    <a:pt x="247" y="366"/>
                  </a:lnTo>
                  <a:lnTo>
                    <a:pt x="252" y="353"/>
                  </a:lnTo>
                  <a:lnTo>
                    <a:pt x="259" y="341"/>
                  </a:lnTo>
                  <a:lnTo>
                    <a:pt x="265" y="330"/>
                  </a:lnTo>
                  <a:lnTo>
                    <a:pt x="271" y="319"/>
                  </a:lnTo>
                  <a:lnTo>
                    <a:pt x="278" y="309"/>
                  </a:lnTo>
                  <a:lnTo>
                    <a:pt x="286" y="298"/>
                  </a:lnTo>
                  <a:lnTo>
                    <a:pt x="294" y="289"/>
                  </a:lnTo>
                  <a:lnTo>
                    <a:pt x="302" y="280"/>
                  </a:lnTo>
                  <a:lnTo>
                    <a:pt x="312" y="271"/>
                  </a:lnTo>
                  <a:lnTo>
                    <a:pt x="322" y="263"/>
                  </a:lnTo>
                  <a:lnTo>
                    <a:pt x="332" y="256"/>
                  </a:lnTo>
                  <a:lnTo>
                    <a:pt x="342" y="247"/>
                  </a:lnTo>
                  <a:lnTo>
                    <a:pt x="353" y="241"/>
                  </a:lnTo>
                  <a:lnTo>
                    <a:pt x="365" y="235"/>
                  </a:lnTo>
                  <a:lnTo>
                    <a:pt x="376" y="229"/>
                  </a:lnTo>
                  <a:lnTo>
                    <a:pt x="388" y="224"/>
                  </a:lnTo>
                  <a:lnTo>
                    <a:pt x="400" y="220"/>
                  </a:lnTo>
                  <a:lnTo>
                    <a:pt x="413" y="216"/>
                  </a:lnTo>
                  <a:lnTo>
                    <a:pt x="427" y="213"/>
                  </a:lnTo>
                  <a:lnTo>
                    <a:pt x="440" y="210"/>
                  </a:lnTo>
                  <a:lnTo>
                    <a:pt x="454" y="208"/>
                  </a:lnTo>
                  <a:lnTo>
                    <a:pt x="468" y="206"/>
                  </a:lnTo>
                  <a:lnTo>
                    <a:pt x="483" y="205"/>
                  </a:lnTo>
                  <a:lnTo>
                    <a:pt x="497" y="205"/>
                  </a:lnTo>
                  <a:lnTo>
                    <a:pt x="497" y="205"/>
                  </a:lnTo>
                  <a:lnTo>
                    <a:pt x="512" y="205"/>
                  </a:lnTo>
                  <a:lnTo>
                    <a:pt x="528" y="206"/>
                  </a:lnTo>
                  <a:lnTo>
                    <a:pt x="542" y="208"/>
                  </a:lnTo>
                  <a:lnTo>
                    <a:pt x="556" y="210"/>
                  </a:lnTo>
                  <a:lnTo>
                    <a:pt x="570" y="213"/>
                  </a:lnTo>
                  <a:lnTo>
                    <a:pt x="584" y="216"/>
                  </a:lnTo>
                  <a:lnTo>
                    <a:pt x="597" y="220"/>
                  </a:lnTo>
                  <a:lnTo>
                    <a:pt x="609" y="224"/>
                  </a:lnTo>
                  <a:lnTo>
                    <a:pt x="621" y="229"/>
                  </a:lnTo>
                  <a:lnTo>
                    <a:pt x="633" y="235"/>
                  </a:lnTo>
                  <a:lnTo>
                    <a:pt x="644" y="241"/>
                  </a:lnTo>
                  <a:lnTo>
                    <a:pt x="655" y="247"/>
                  </a:lnTo>
                  <a:lnTo>
                    <a:pt x="665" y="255"/>
                  </a:lnTo>
                  <a:lnTo>
                    <a:pt x="675" y="263"/>
                  </a:lnTo>
                  <a:lnTo>
                    <a:pt x="684" y="271"/>
                  </a:lnTo>
                  <a:lnTo>
                    <a:pt x="694" y="279"/>
                  </a:lnTo>
                  <a:lnTo>
                    <a:pt x="703" y="288"/>
                  </a:lnTo>
                  <a:lnTo>
                    <a:pt x="710" y="298"/>
                  </a:lnTo>
                  <a:lnTo>
                    <a:pt x="718" y="308"/>
                  </a:lnTo>
                  <a:lnTo>
                    <a:pt x="725" y="318"/>
                  </a:lnTo>
                  <a:lnTo>
                    <a:pt x="731" y="329"/>
                  </a:lnTo>
                  <a:lnTo>
                    <a:pt x="737" y="340"/>
                  </a:lnTo>
                  <a:lnTo>
                    <a:pt x="743" y="351"/>
                  </a:lnTo>
                  <a:lnTo>
                    <a:pt x="748" y="364"/>
                  </a:lnTo>
                  <a:lnTo>
                    <a:pt x="752" y="376"/>
                  </a:lnTo>
                  <a:lnTo>
                    <a:pt x="756" y="389"/>
                  </a:lnTo>
                  <a:lnTo>
                    <a:pt x="759" y="402"/>
                  </a:lnTo>
                  <a:lnTo>
                    <a:pt x="762" y="415"/>
                  </a:lnTo>
                  <a:lnTo>
                    <a:pt x="764" y="429"/>
                  </a:lnTo>
                  <a:lnTo>
                    <a:pt x="765" y="443"/>
                  </a:lnTo>
                  <a:lnTo>
                    <a:pt x="766" y="457"/>
                  </a:lnTo>
                  <a:lnTo>
                    <a:pt x="767" y="471"/>
                  </a:lnTo>
                  <a:lnTo>
                    <a:pt x="767" y="471"/>
                  </a:lnTo>
                  <a:lnTo>
                    <a:pt x="765" y="500"/>
                  </a:lnTo>
                  <a:lnTo>
                    <a:pt x="762" y="527"/>
                  </a:lnTo>
                  <a:lnTo>
                    <a:pt x="759" y="540"/>
                  </a:lnTo>
                  <a:lnTo>
                    <a:pt x="756" y="553"/>
                  </a:lnTo>
                  <a:lnTo>
                    <a:pt x="753" y="565"/>
                  </a:lnTo>
                  <a:lnTo>
                    <a:pt x="748" y="577"/>
                  </a:lnTo>
                  <a:lnTo>
                    <a:pt x="744" y="590"/>
                  </a:lnTo>
                  <a:lnTo>
                    <a:pt x="737" y="601"/>
                  </a:lnTo>
                  <a:lnTo>
                    <a:pt x="731" y="612"/>
                  </a:lnTo>
                  <a:lnTo>
                    <a:pt x="725" y="623"/>
                  </a:lnTo>
                  <a:lnTo>
                    <a:pt x="718" y="633"/>
                  </a:lnTo>
                  <a:lnTo>
                    <a:pt x="711" y="644"/>
                  </a:lnTo>
                  <a:lnTo>
                    <a:pt x="703" y="654"/>
                  </a:lnTo>
                  <a:lnTo>
                    <a:pt x="695" y="663"/>
                  </a:lnTo>
                  <a:lnTo>
                    <a:pt x="685" y="671"/>
                  </a:lnTo>
                  <a:lnTo>
                    <a:pt x="675" y="680"/>
                  </a:lnTo>
                  <a:lnTo>
                    <a:pt x="666" y="687"/>
                  </a:lnTo>
                  <a:lnTo>
                    <a:pt x="655" y="694"/>
                  </a:lnTo>
                  <a:lnTo>
                    <a:pt x="645" y="702"/>
                  </a:lnTo>
                  <a:lnTo>
                    <a:pt x="634" y="708"/>
                  </a:lnTo>
                  <a:lnTo>
                    <a:pt x="621" y="714"/>
                  </a:lnTo>
                  <a:lnTo>
                    <a:pt x="609" y="719"/>
                  </a:lnTo>
                  <a:lnTo>
                    <a:pt x="596" y="724"/>
                  </a:lnTo>
                  <a:lnTo>
                    <a:pt x="583" y="728"/>
                  </a:lnTo>
                  <a:lnTo>
                    <a:pt x="569" y="731"/>
                  </a:lnTo>
                  <a:lnTo>
                    <a:pt x="555" y="734"/>
                  </a:lnTo>
                  <a:lnTo>
                    <a:pt x="541" y="736"/>
                  </a:lnTo>
                  <a:lnTo>
                    <a:pt x="527" y="738"/>
                  </a:lnTo>
                  <a:lnTo>
                    <a:pt x="511" y="739"/>
                  </a:lnTo>
                  <a:lnTo>
                    <a:pt x="495" y="739"/>
                  </a:lnTo>
                  <a:lnTo>
                    <a:pt x="495" y="7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203201" y="323851"/>
            <a:ext cx="9203267" cy="4544482"/>
          </a:xfrm>
        </p:spPr>
        <p:txBody>
          <a:bodyPr anchor="t" anchorCtr="0">
            <a:normAutofit/>
          </a:bodyPr>
          <a:lstStyle>
            <a:lvl1pPr>
              <a:lnSpc>
                <a:spcPts val="7900"/>
              </a:lnSpc>
              <a:defRPr sz="9600">
                <a:solidFill>
                  <a:schemeClr val="accent5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167" y="4715933"/>
            <a:ext cx="7986183" cy="1710268"/>
          </a:xfrm>
        </p:spPr>
        <p:txBody>
          <a:bodyPr anchor="b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BG_Gradients-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0" y="0"/>
            <a:ext cx="9144000" cy="6865951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83C57C-80DA-45D5-BFE5-7583B81927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30684" y="524455"/>
            <a:ext cx="9469967" cy="3560764"/>
          </a:xfrm>
        </p:spPr>
        <p:txBody>
          <a:bodyPr anchor="t" anchorCtr="0">
            <a:noAutofit/>
          </a:bodyPr>
          <a:lstStyle>
            <a:lvl1pPr algn="l">
              <a:lnSpc>
                <a:spcPct val="69000"/>
              </a:lnSpc>
              <a:defRPr sz="10000" b="1" cap="all" spc="-3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47CA4806-5749-4579-93F3-C20A129D7CFD}" type="datetime1">
              <a:rPr lang="en-US" smtClean="0"/>
              <a:pPr/>
              <a:t>10/20/201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BG_Gradients-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0" y="0"/>
            <a:ext cx="9144000" cy="6865951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83C57C-80DA-45D5-BFE5-7583B81927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30684" y="524455"/>
            <a:ext cx="9469967" cy="3560764"/>
          </a:xfrm>
        </p:spPr>
        <p:txBody>
          <a:bodyPr anchor="t" anchorCtr="0">
            <a:noAutofit/>
          </a:bodyPr>
          <a:lstStyle>
            <a:lvl1pPr algn="l">
              <a:lnSpc>
                <a:spcPct val="69000"/>
              </a:lnSpc>
              <a:defRPr sz="10000" b="1" cap="all" spc="-3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47CA4806-5749-4579-93F3-C20A129D7CFD}" type="datetime1">
              <a:rPr lang="en-US" smtClean="0"/>
              <a:pPr/>
              <a:t>10/20/201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52564"/>
            <a:ext cx="3703320" cy="5170486"/>
          </a:xfrm>
        </p:spPr>
        <p:txBody>
          <a:bodyPr>
            <a:normAutofit/>
          </a:bodyPr>
          <a:lstStyle>
            <a:lvl1pPr marL="177800" indent="0"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33977" y="1452564"/>
            <a:ext cx="3700373" cy="5170486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90DA32F9-906E-482A-8835-4EE1B648E1F5}" type="datetime1">
              <a:rPr lang="en-US" smtClean="0"/>
              <a:pPr/>
              <a:t>10/20/20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3C57C-80DA-45D5-BFE5-7583B819276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52564"/>
            <a:ext cx="3703320" cy="617776"/>
          </a:xfrm>
        </p:spPr>
        <p:txBody>
          <a:bodyPr anchor="b">
            <a:noAutofit/>
          </a:bodyPr>
          <a:lstStyle>
            <a:lvl1pPr marL="0" indent="0">
              <a:buNone/>
              <a:defRPr sz="22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512" y="2120900"/>
            <a:ext cx="3355975" cy="4292599"/>
          </a:xfrm>
          <a:solidFill>
            <a:schemeClr val="accent5"/>
          </a:solidFill>
          <a:ln>
            <a:noFill/>
          </a:ln>
        </p:spPr>
        <p:txBody>
          <a:bodyPr>
            <a:normAutofit/>
          </a:bodyPr>
          <a:lstStyle>
            <a:lvl1pPr marL="114300" indent="0">
              <a:defRPr sz="1500"/>
            </a:lvl1pPr>
            <a:lvl2pPr marL="406400" indent="-292100">
              <a:buNone/>
              <a:defRPr sz="1300">
                <a:solidFill>
                  <a:schemeClr val="bg1"/>
                </a:solidFill>
              </a:defRPr>
            </a:lvl2pPr>
            <a:lvl3pPr marL="406400" indent="-292100">
              <a:buFont typeface="Arial"/>
              <a:buNone/>
              <a:defRPr sz="1200">
                <a:solidFill>
                  <a:schemeClr val="bg1"/>
                </a:solidFill>
              </a:defRPr>
            </a:lvl3pPr>
            <a:lvl4pPr marL="406400" indent="-292100">
              <a:buClr>
                <a:schemeClr val="bg1"/>
              </a:buClr>
              <a:buFont typeface="Lucida Grande"/>
              <a:buChar char="»"/>
              <a:defRPr sz="1200">
                <a:solidFill>
                  <a:srgbClr val="000000"/>
                </a:solidFill>
              </a:defRPr>
            </a:lvl4pPr>
            <a:lvl5pPr marL="406400" indent="-292100">
              <a:buClr>
                <a:schemeClr val="bg1"/>
              </a:buClr>
              <a:buFont typeface="Lucida Grande"/>
              <a:buChar char="»"/>
              <a:defRPr sz="1200">
                <a:solidFill>
                  <a:srgbClr val="00000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452564"/>
            <a:ext cx="3536950" cy="617776"/>
          </a:xfrm>
        </p:spPr>
        <p:txBody>
          <a:bodyPr anchor="b">
            <a:noAutofit/>
          </a:bodyPr>
          <a:lstStyle>
            <a:lvl1pPr marL="0" indent="0">
              <a:buNone/>
              <a:defRPr sz="22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73600" y="2120900"/>
            <a:ext cx="3371850" cy="4292599"/>
          </a:xfrm>
          <a:solidFill>
            <a:srgbClr val="00BCE4"/>
          </a:solidFill>
          <a:ln>
            <a:noFill/>
          </a:ln>
        </p:spPr>
        <p:txBody>
          <a:bodyPr>
            <a:normAutofit/>
          </a:bodyPr>
          <a:lstStyle>
            <a:lvl1pPr marL="114300" indent="0">
              <a:defRPr sz="1500"/>
            </a:lvl1pPr>
            <a:lvl2pPr marL="342900" indent="-228600">
              <a:buClr>
                <a:schemeClr val="bg1"/>
              </a:buClr>
              <a:defRPr sz="1200">
                <a:solidFill>
                  <a:srgbClr val="000000"/>
                </a:solidFill>
              </a:defRPr>
            </a:lvl2pPr>
            <a:lvl3pPr marL="342900" indent="-228600">
              <a:buClr>
                <a:schemeClr val="bg1"/>
              </a:buClr>
              <a:buFont typeface="Lucida Grande"/>
              <a:buChar char="»"/>
              <a:defRPr sz="1200">
                <a:solidFill>
                  <a:srgbClr val="000000"/>
                </a:solidFill>
              </a:defRPr>
            </a:lvl3pPr>
            <a:lvl4pPr marL="342900" indent="-228600">
              <a:buClr>
                <a:schemeClr val="bg1"/>
              </a:buClr>
              <a:buFont typeface="Lucida Grande"/>
              <a:buChar char="»"/>
              <a:defRPr sz="1200">
                <a:solidFill>
                  <a:srgbClr val="000000"/>
                </a:solidFill>
              </a:defRPr>
            </a:lvl4pPr>
            <a:lvl5pPr marL="342900" indent="-228600">
              <a:buClr>
                <a:schemeClr val="bg1"/>
              </a:buClr>
              <a:buFont typeface="Lucida Grande"/>
              <a:buChar char="»"/>
              <a:defRPr sz="1200">
                <a:solidFill>
                  <a:srgbClr val="00000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3EC00D29-6FB5-4FFF-80C7-E3689DC203F6}" type="datetime1">
              <a:rPr lang="en-US" smtClean="0"/>
              <a:pPr/>
              <a:t>10/20/2015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3C57C-80DA-45D5-BFE5-7583B81927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Isosceles Triangle 9"/>
          <p:cNvSpPr/>
          <p:nvPr userDrawn="1"/>
        </p:nvSpPr>
        <p:spPr>
          <a:xfrm rot="5400000">
            <a:off x="2457452" y="3870856"/>
            <a:ext cx="3693582" cy="58737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544513" y="6070600"/>
            <a:ext cx="334168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/ / / / / / / / / / / / / / / / / / / / / / / / / / / / / / / / / </a:t>
            </a:r>
          </a:p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4684713" y="6070600"/>
            <a:ext cx="334168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/ / / / / / / / / / / / / / / / / / / / / / / / / / / / / / / / / </a:t>
            </a:r>
          </a:p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52564"/>
            <a:ext cx="3703320" cy="617776"/>
          </a:xfrm>
        </p:spPr>
        <p:txBody>
          <a:bodyPr anchor="b">
            <a:noAutofit/>
          </a:bodyPr>
          <a:lstStyle>
            <a:lvl1pPr marL="0" indent="0">
              <a:buNone/>
              <a:defRPr sz="22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512" y="2120900"/>
            <a:ext cx="3355975" cy="4292599"/>
          </a:xfrm>
          <a:solidFill>
            <a:schemeClr val="accent4"/>
          </a:solidFill>
          <a:ln>
            <a:noFill/>
          </a:ln>
        </p:spPr>
        <p:txBody>
          <a:bodyPr>
            <a:normAutofit/>
          </a:bodyPr>
          <a:lstStyle>
            <a:lvl1pPr marL="114300" indent="0">
              <a:defRPr sz="1500"/>
            </a:lvl1pPr>
            <a:lvl2pPr marL="406400" indent="-292100">
              <a:buNone/>
              <a:defRPr sz="1300">
                <a:solidFill>
                  <a:schemeClr val="bg1"/>
                </a:solidFill>
              </a:defRPr>
            </a:lvl2pPr>
            <a:lvl3pPr marL="406400" indent="-292100">
              <a:buFont typeface="Arial"/>
              <a:buNone/>
              <a:defRPr sz="1200">
                <a:solidFill>
                  <a:schemeClr val="bg1"/>
                </a:solidFill>
              </a:defRPr>
            </a:lvl3pPr>
            <a:lvl4pPr marL="406400" indent="-292100">
              <a:buClr>
                <a:schemeClr val="bg1"/>
              </a:buClr>
              <a:buFont typeface="Lucida Grande"/>
              <a:buChar char="»"/>
              <a:defRPr sz="1200">
                <a:solidFill>
                  <a:srgbClr val="000000"/>
                </a:solidFill>
              </a:defRPr>
            </a:lvl4pPr>
            <a:lvl5pPr marL="406400" indent="-292100">
              <a:buClr>
                <a:schemeClr val="bg1"/>
              </a:buClr>
              <a:buFont typeface="Lucida Grande"/>
              <a:buChar char="»"/>
              <a:defRPr sz="1200">
                <a:solidFill>
                  <a:srgbClr val="00000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452564"/>
            <a:ext cx="3536950" cy="617776"/>
          </a:xfrm>
        </p:spPr>
        <p:txBody>
          <a:bodyPr anchor="b">
            <a:noAutofit/>
          </a:bodyPr>
          <a:lstStyle>
            <a:lvl1pPr marL="0" indent="0">
              <a:buNone/>
              <a:defRPr sz="22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73600" y="2120900"/>
            <a:ext cx="3371850" cy="4292599"/>
          </a:xfrm>
          <a:solidFill>
            <a:srgbClr val="A0CF67"/>
          </a:solidFill>
          <a:ln>
            <a:noFill/>
          </a:ln>
        </p:spPr>
        <p:txBody>
          <a:bodyPr>
            <a:normAutofit/>
          </a:bodyPr>
          <a:lstStyle>
            <a:lvl1pPr marL="114300" indent="0">
              <a:defRPr sz="1500"/>
            </a:lvl1pPr>
            <a:lvl2pPr marL="342900" indent="-228600">
              <a:buClr>
                <a:schemeClr val="bg1"/>
              </a:buClr>
              <a:defRPr sz="1200">
                <a:solidFill>
                  <a:srgbClr val="000000"/>
                </a:solidFill>
              </a:defRPr>
            </a:lvl2pPr>
            <a:lvl3pPr marL="342900" indent="-228600">
              <a:buClr>
                <a:schemeClr val="bg1"/>
              </a:buClr>
              <a:buFont typeface="Lucida Grande"/>
              <a:buChar char="»"/>
              <a:defRPr sz="1200">
                <a:solidFill>
                  <a:srgbClr val="000000"/>
                </a:solidFill>
              </a:defRPr>
            </a:lvl3pPr>
            <a:lvl4pPr marL="342900" indent="-228600">
              <a:buClr>
                <a:schemeClr val="bg1"/>
              </a:buClr>
              <a:buFont typeface="Lucida Grande"/>
              <a:buChar char="»"/>
              <a:defRPr sz="1200">
                <a:solidFill>
                  <a:srgbClr val="000000"/>
                </a:solidFill>
              </a:defRPr>
            </a:lvl4pPr>
            <a:lvl5pPr marL="342900" indent="-228600">
              <a:buClr>
                <a:schemeClr val="bg1"/>
              </a:buClr>
              <a:buFont typeface="Lucida Grande"/>
              <a:buChar char="»"/>
              <a:defRPr sz="1200">
                <a:solidFill>
                  <a:srgbClr val="00000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3EC00D29-6FB5-4FFF-80C7-E3689DC203F6}" type="datetime1">
              <a:rPr lang="en-US" smtClean="0"/>
              <a:pPr/>
              <a:t>10/20/2015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3C57C-80DA-45D5-BFE5-7583B81927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Isosceles Triangle 9"/>
          <p:cNvSpPr/>
          <p:nvPr userDrawn="1"/>
        </p:nvSpPr>
        <p:spPr>
          <a:xfrm rot="5400000">
            <a:off x="2457452" y="3870856"/>
            <a:ext cx="3693582" cy="587376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544513" y="6070600"/>
            <a:ext cx="334168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/ / / / / / / / / / / / / / / / / / / / / / / / / / / / / / / / / </a:t>
            </a:r>
          </a:p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4684713" y="6070600"/>
            <a:ext cx="334168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/ / / / / / / / / / / / / / / / / / / / / / / / / / / / / / / / / </a:t>
            </a:r>
          </a:p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57C6EFC3-83FC-49CF-A1BD-B4DC55DB1C57}" type="datetime1">
              <a:rPr lang="en-US" smtClean="0"/>
              <a:pPr/>
              <a:t>10/20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3C57C-80DA-45D5-BFE5-7583B819276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86F35E29-390C-4C0D-9472-BDD78FC60B0A}" type="datetime1">
              <a:rPr lang="en-US" smtClean="0"/>
              <a:pPr/>
              <a:t>10/20/2015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3C57C-80DA-45D5-BFE5-7583B819276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9B6A5050-613D-4D67-8D88-782865951968}" type="datetime1">
              <a:rPr lang="en-US" smtClean="0"/>
              <a:pPr/>
              <a:t>10/20/20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3C57C-80DA-45D5-BFE5-7583B819276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BAA355D3-19C1-41A1-9142-587DD54A8D64}" type="datetime1">
              <a:rPr lang="en-US" smtClean="0"/>
              <a:pPr/>
              <a:t>10/20/20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3C57C-80DA-45D5-BFE5-7583B819276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spcBef>
                <a:spcPts val="800"/>
              </a:spcBef>
              <a:buFont typeface="Arial" pitchFamily="34" charset="0"/>
              <a:buChar char="»"/>
              <a:defRPr/>
            </a:lvl2pPr>
            <a:lvl3pPr>
              <a:spcAft>
                <a:spcPts val="200"/>
              </a:spcAft>
              <a:buFont typeface="Arial" pitchFamily="34" charset="0"/>
              <a:buChar char="•"/>
              <a:defRPr/>
            </a:lvl3pPr>
            <a:lvl4pPr>
              <a:buFont typeface="Arial" pitchFamily="34" charset="0"/>
              <a:buChar char="–"/>
              <a:defRPr/>
            </a:lvl4pPr>
            <a:lvl5pP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491E47CA-FE4E-42D0-85FE-B62CF5AB7626}" type="datetime1">
              <a:rPr lang="en-US" smtClean="0"/>
              <a:pPr/>
              <a:t>10/20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3C57C-80DA-45D5-BFE5-7583B819276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1" y="1452564"/>
            <a:ext cx="2539999" cy="5126036"/>
          </a:xfrm>
        </p:spPr>
        <p:txBody>
          <a:bodyPr/>
          <a:lstStyle>
            <a:lvl2pPr marL="114300" indent="-1143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»"/>
              <a:defRPr sz="1200"/>
            </a:lvl2pPr>
            <a:lvl3pPr marL="228600" indent="-101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050"/>
            </a:lvl3pPr>
            <a:lvl4pPr marL="457200" indent="-1651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050"/>
            </a:lvl4pPr>
            <a:lvl5pPr marL="685800" indent="-1651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050"/>
            </a:lvl5pPr>
          </a:lstStyle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491E47CA-FE4E-42D0-85FE-B62CF5AB7626}" type="datetime1">
              <a:rPr lang="en-US" smtClean="0"/>
              <a:pPr/>
              <a:t>10/20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3C57C-80DA-45D5-BFE5-7583B81927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81863" y="1452564"/>
            <a:ext cx="2540002" cy="5126036"/>
          </a:xfrm>
        </p:spPr>
        <p:txBody>
          <a:bodyPr>
            <a:normAutofit/>
          </a:bodyPr>
          <a:lstStyle>
            <a:lvl2pPr marL="114300" indent="-114300">
              <a:spcBef>
                <a:spcPts val="0"/>
              </a:spcBef>
              <a:spcAft>
                <a:spcPts val="600"/>
              </a:spcAft>
              <a:defRPr sz="1200"/>
            </a:lvl2pPr>
            <a:lvl3pPr marL="228600" indent="-109538">
              <a:spcBef>
                <a:spcPts val="0"/>
              </a:spcBef>
              <a:spcAft>
                <a:spcPts val="600"/>
              </a:spcAft>
              <a:defRPr sz="1050"/>
            </a:lvl3pPr>
            <a:lvl4pPr marL="457200" indent="-165100">
              <a:spcBef>
                <a:spcPts val="0"/>
              </a:spcBef>
              <a:spcAft>
                <a:spcPts val="600"/>
              </a:spcAft>
              <a:defRPr sz="1050"/>
            </a:lvl4pPr>
            <a:lvl5pPr marL="685800" indent="-169863">
              <a:spcBef>
                <a:spcPts val="0"/>
              </a:spcBef>
              <a:spcAft>
                <a:spcPts val="600"/>
              </a:spcAft>
              <a:defRPr sz="1050"/>
            </a:lvl5pPr>
          </a:lstStyle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06001" y="1452564"/>
            <a:ext cx="2548996" cy="5126038"/>
          </a:xfrm>
        </p:spPr>
        <p:txBody>
          <a:bodyPr>
            <a:normAutofit/>
          </a:bodyPr>
          <a:lstStyle>
            <a:lvl2pPr marL="119063" indent="-119063">
              <a:spcBef>
                <a:spcPts val="0"/>
              </a:spcBef>
              <a:spcAft>
                <a:spcPts val="600"/>
              </a:spcAft>
              <a:defRPr sz="1200"/>
            </a:lvl2pPr>
            <a:lvl3pPr marL="228600" indent="-114300">
              <a:spcBef>
                <a:spcPts val="0"/>
              </a:spcBef>
              <a:spcAft>
                <a:spcPts val="600"/>
              </a:spcAft>
              <a:defRPr sz="1050"/>
            </a:lvl3pPr>
            <a:lvl4pPr marL="457200" indent="-169863">
              <a:spcBef>
                <a:spcPts val="0"/>
              </a:spcBef>
              <a:spcAft>
                <a:spcPts val="600"/>
              </a:spcAft>
              <a:defRPr sz="1050"/>
            </a:lvl4pPr>
            <a:lvl5pPr marL="685800" indent="-169863">
              <a:spcBef>
                <a:spcPts val="0"/>
              </a:spcBef>
              <a:spcAft>
                <a:spcPts val="600"/>
              </a:spcAft>
              <a:defRPr sz="1050"/>
            </a:lvl5pPr>
          </a:lstStyle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491E47CA-FE4E-42D0-85FE-B62CF5AB7626}" type="datetime1">
              <a:rPr lang="en-US" smtClean="0"/>
              <a:pPr/>
              <a:t>10/20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3C57C-80DA-45D5-BFE5-7583B81927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1452564"/>
            <a:ext cx="3875087" cy="5126036"/>
          </a:xfrm>
          <a:noFill/>
        </p:spPr>
        <p:txBody>
          <a:bodyPr>
            <a:normAutofit/>
          </a:bodyPr>
          <a:lstStyle>
            <a:lvl2pPr marL="114300" indent="-114300">
              <a:spcBef>
                <a:spcPts val="600"/>
              </a:spcBef>
              <a:spcAft>
                <a:spcPts val="300"/>
              </a:spcAft>
              <a:buFontTx/>
              <a:buNone/>
              <a:defRPr sz="1800" b="1" cap="all">
                <a:solidFill>
                  <a:srgbClr val="F78E1E"/>
                </a:solidFill>
              </a:defRPr>
            </a:lvl2pPr>
            <a:lvl3pPr marL="0" indent="0">
              <a:spcBef>
                <a:spcPts val="600"/>
              </a:spcBef>
              <a:spcAft>
                <a:spcPts val="600"/>
              </a:spcAft>
              <a:buClrTx/>
              <a:buFontTx/>
              <a:buNone/>
              <a:defRPr sz="1400" b="1" cap="all"/>
            </a:lvl3pPr>
            <a:lvl4pPr marL="292100" indent="-177800">
              <a:spcBef>
                <a:spcPts val="0"/>
              </a:spcBef>
              <a:spcAft>
                <a:spcPts val="600"/>
              </a:spcAft>
              <a:buFont typeface="Lucida Grande"/>
              <a:buChar char="»"/>
              <a:defRPr sz="1200"/>
            </a:lvl4pPr>
            <a:lvl5pPr marL="685800" indent="-169863">
              <a:spcBef>
                <a:spcPts val="0"/>
              </a:spcBef>
              <a:spcAft>
                <a:spcPts val="600"/>
              </a:spcAft>
              <a:defRPr sz="1050"/>
            </a:lvl5pPr>
          </a:lstStyle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2"/>
            <a:endParaRPr lang="en-US" dirty="0" smtClean="0"/>
          </a:p>
          <a:p>
            <a:pPr lvl="3"/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470399" y="1452564"/>
            <a:ext cx="3663951" cy="5126038"/>
          </a:xfrm>
          <a:noFill/>
        </p:spPr>
        <p:txBody>
          <a:bodyPr>
            <a:normAutofit/>
          </a:bodyPr>
          <a:lstStyle>
            <a:lvl2pPr marL="119063" indent="-119063">
              <a:spcBef>
                <a:spcPts val="600"/>
              </a:spcBef>
              <a:spcAft>
                <a:spcPts val="300"/>
              </a:spcAft>
              <a:buFontTx/>
              <a:buNone/>
              <a:defRPr sz="1800" b="1" cap="all">
                <a:solidFill>
                  <a:srgbClr val="F78E1E"/>
                </a:solidFill>
              </a:defRPr>
            </a:lvl2pPr>
            <a:lvl3pPr marL="0" indent="0">
              <a:spcBef>
                <a:spcPts val="600"/>
              </a:spcBef>
              <a:spcAft>
                <a:spcPts val="600"/>
              </a:spcAft>
              <a:buFontTx/>
              <a:buNone/>
              <a:defRPr sz="1400" b="1" cap="all"/>
            </a:lvl3pPr>
            <a:lvl4pPr marL="292100" indent="-177800">
              <a:spcBef>
                <a:spcPts val="0"/>
              </a:spcBef>
              <a:spcAft>
                <a:spcPts val="600"/>
              </a:spcAft>
              <a:buFont typeface="Lucida Grande"/>
              <a:buChar char="»"/>
              <a:defRPr sz="1200"/>
            </a:lvl4pPr>
            <a:lvl5pPr marL="685800" indent="-169863">
              <a:spcBef>
                <a:spcPts val="0"/>
              </a:spcBef>
              <a:spcAft>
                <a:spcPts val="600"/>
              </a:spcAft>
              <a:defRPr sz="1050"/>
            </a:lvl5pPr>
          </a:lstStyle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2"/>
            <a:endParaRPr lang="en-US" dirty="0" smtClean="0"/>
          </a:p>
          <a:p>
            <a:pPr lvl="3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491E47CA-FE4E-42D0-85FE-B62CF5AB7626}" type="datetime1">
              <a:rPr lang="en-US" smtClean="0"/>
              <a:pPr/>
              <a:t>10/20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3C57C-80DA-45D5-BFE5-7583B81927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1452564"/>
            <a:ext cx="2899219" cy="5126036"/>
          </a:xfrm>
        </p:spPr>
        <p:txBody>
          <a:bodyPr>
            <a:normAutofit/>
          </a:bodyPr>
          <a:lstStyle>
            <a:lvl1pPr>
              <a:defRPr sz="1800" b="0" cap="none">
                <a:solidFill>
                  <a:srgbClr val="F78E1E"/>
                </a:solidFill>
              </a:defRPr>
            </a:lvl1pPr>
            <a:lvl2pPr marL="0" indent="-114300">
              <a:spcBef>
                <a:spcPts val="0"/>
              </a:spcBef>
              <a:spcAft>
                <a:spcPts val="0"/>
              </a:spcAft>
              <a:buFontTx/>
              <a:buNone/>
              <a:defRPr sz="1800">
                <a:solidFill>
                  <a:srgbClr val="F78E1E"/>
                </a:solidFill>
              </a:defRPr>
            </a:lvl2pPr>
            <a:lvl3pPr marL="0" indent="-109538">
              <a:spcBef>
                <a:spcPts val="0"/>
              </a:spcBef>
              <a:spcAft>
                <a:spcPts val="0"/>
              </a:spcAft>
              <a:buFontTx/>
              <a:buNone/>
              <a:defRPr sz="1800">
                <a:solidFill>
                  <a:srgbClr val="F78E1E"/>
                </a:solidFill>
              </a:defRPr>
            </a:lvl3pPr>
            <a:lvl4pPr marL="0" indent="-165100">
              <a:spcBef>
                <a:spcPts val="0"/>
              </a:spcBef>
              <a:spcAft>
                <a:spcPts val="0"/>
              </a:spcAft>
              <a:buFontTx/>
              <a:buNone/>
              <a:defRPr sz="1800">
                <a:solidFill>
                  <a:srgbClr val="F78E1E"/>
                </a:solidFill>
              </a:defRPr>
            </a:lvl4pPr>
            <a:lvl5pPr marL="0" indent="-169863">
              <a:spcBef>
                <a:spcPts val="0"/>
              </a:spcBef>
              <a:spcAft>
                <a:spcPts val="0"/>
              </a:spcAft>
              <a:buFontTx/>
              <a:buNone/>
              <a:defRPr sz="1800">
                <a:solidFill>
                  <a:srgbClr val="F78E1E"/>
                </a:solidFill>
              </a:defRPr>
            </a:lvl5pPr>
          </a:lstStyle>
          <a:p>
            <a:pPr lvl="0"/>
            <a:r>
              <a:rPr lang="en-US" dirty="0" smtClean="0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619501" y="1452564"/>
            <a:ext cx="4514850" cy="540543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defRPr sz="1400" b="1" cap="all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2pPr>
            <a:lvl3pPr marL="228600" indent="-114300">
              <a:spcBef>
                <a:spcPts val="0"/>
              </a:spcBef>
              <a:spcAft>
                <a:spcPts val="600"/>
              </a:spcAft>
              <a:defRPr sz="1050"/>
            </a:lvl3pPr>
            <a:lvl4pPr marL="457200" indent="-169863">
              <a:spcBef>
                <a:spcPts val="0"/>
              </a:spcBef>
              <a:spcAft>
                <a:spcPts val="600"/>
              </a:spcAft>
              <a:defRPr sz="1050"/>
            </a:lvl4pPr>
            <a:lvl5pPr marL="685800" indent="-169863">
              <a:spcBef>
                <a:spcPts val="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0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0"/>
            <a:endParaRPr lang="en-US" dirty="0" smtClean="0"/>
          </a:p>
          <a:p>
            <a:pPr lvl="1"/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BG_Gradients-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0" y="0"/>
            <a:ext cx="9144000" cy="6865951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83C57C-80DA-45D5-BFE5-7583B81927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30684" y="524455"/>
            <a:ext cx="9469967" cy="3560764"/>
          </a:xfrm>
        </p:spPr>
        <p:txBody>
          <a:bodyPr anchor="t" anchorCtr="0">
            <a:noAutofit/>
          </a:bodyPr>
          <a:lstStyle>
            <a:lvl1pPr algn="l">
              <a:lnSpc>
                <a:spcPct val="69000"/>
              </a:lnSpc>
              <a:defRPr sz="10000" b="1" cap="all" spc="-3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47CA4806-5749-4579-93F3-C20A129D7CFD}" type="datetime1">
              <a:rPr lang="en-US" smtClean="0"/>
              <a:pPr/>
              <a:t>10/20/201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BG_Gradients-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0" y="0"/>
            <a:ext cx="9144000" cy="68659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30684" y="524455"/>
            <a:ext cx="9469967" cy="3560764"/>
          </a:xfrm>
        </p:spPr>
        <p:txBody>
          <a:bodyPr anchor="t" anchorCtr="0">
            <a:noAutofit/>
          </a:bodyPr>
          <a:lstStyle>
            <a:lvl1pPr algn="l">
              <a:lnSpc>
                <a:spcPct val="69000"/>
              </a:lnSpc>
              <a:defRPr sz="10000" b="1" cap="all" spc="-3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47CA4806-5749-4579-93F3-C20A129D7CFD}" type="datetime1">
              <a:rPr lang="en-US" smtClean="0"/>
              <a:pPr/>
              <a:t>10/20/201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BG_Gradients-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0" y="0"/>
            <a:ext cx="9144000" cy="68659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30684" y="524455"/>
            <a:ext cx="9469967" cy="3560764"/>
          </a:xfrm>
        </p:spPr>
        <p:txBody>
          <a:bodyPr anchor="t" anchorCtr="0">
            <a:noAutofit/>
          </a:bodyPr>
          <a:lstStyle>
            <a:lvl1pPr algn="l">
              <a:lnSpc>
                <a:spcPct val="69000"/>
              </a:lnSpc>
              <a:defRPr sz="10000" b="1" cap="all" spc="-3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47CA4806-5749-4579-93F3-C20A129D7CFD}" type="datetime1">
              <a:rPr lang="en-US" smtClean="0"/>
              <a:pPr/>
              <a:t>10/20/201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BG_Gradients-15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0" y="0"/>
            <a:ext cx="9144000" cy="68659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30684" y="524455"/>
            <a:ext cx="9469967" cy="3560764"/>
          </a:xfrm>
        </p:spPr>
        <p:txBody>
          <a:bodyPr anchor="t" anchorCtr="0">
            <a:noAutofit/>
          </a:bodyPr>
          <a:lstStyle>
            <a:lvl1pPr algn="l">
              <a:lnSpc>
                <a:spcPct val="69000"/>
              </a:lnSpc>
              <a:defRPr sz="10000" b="1" cap="all" spc="-3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858000"/>
            <a:ext cx="2133600" cy="365125"/>
          </a:xfrm>
          <a:prstGeom prst="rect">
            <a:avLst/>
          </a:prstGeom>
        </p:spPr>
        <p:txBody>
          <a:bodyPr/>
          <a:lstStyle/>
          <a:p>
            <a:fld id="{47CA4806-5749-4579-93F3-C20A129D7CFD}" type="datetime1">
              <a:rPr lang="en-US" smtClean="0"/>
              <a:pPr/>
              <a:t>10/20/201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file://localhost/Users/Sharon/WORK/BLOOMBERG/Degrees_2.png" TargetMode="Externa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Date Placeholder 3"/>
          <p:cNvSpPr txBox="1">
            <a:spLocks/>
          </p:cNvSpPr>
          <p:nvPr userDrawn="1"/>
        </p:nvSpPr>
        <p:spPr>
          <a:xfrm>
            <a:off x="8741834" y="1312337"/>
            <a:ext cx="254000" cy="3364442"/>
          </a:xfrm>
          <a:prstGeom prst="rect">
            <a:avLst/>
          </a:prstGeom>
        </p:spPr>
        <p:txBody>
          <a:bodyPr vert="vert270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sktop API 201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17500"/>
            <a:ext cx="7677150" cy="965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52564"/>
            <a:ext cx="7677150" cy="51704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1"/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5400000">
            <a:off x="8687786" y="156048"/>
            <a:ext cx="351448" cy="481450"/>
          </a:xfrm>
          <a:prstGeom prst="rect">
            <a:avLst/>
          </a:prstGeom>
        </p:spPr>
        <p:txBody>
          <a:bodyPr vert="vert270" lIns="91440" tIns="45720" rIns="91440" bIns="45720" rtlCol="0" anchor="ctr"/>
          <a:lstStyle>
            <a:lvl1pPr marL="0" algn="ctr" defTabSz="914400" rtl="0" eaLnBrk="1" latinLnBrk="0" hangingPunct="1">
              <a:defRPr lang="en-US" sz="2000" b="1" kern="1200" smtClean="0">
                <a:solidFill>
                  <a:srgbClr val="606060"/>
                </a:solidFill>
                <a:latin typeface="Arial"/>
                <a:ea typeface="+mn-ea"/>
                <a:cs typeface="Arial"/>
              </a:defRPr>
            </a:lvl1pPr>
          </a:lstStyle>
          <a:p>
            <a:fld id="{B383C57C-80DA-45D5-BFE5-7583B8192761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Group 278"/>
          <p:cNvGrpSpPr/>
          <p:nvPr userDrawn="1"/>
        </p:nvGrpSpPr>
        <p:grpSpPr>
          <a:xfrm rot="16200000">
            <a:off x="8042195" y="5656432"/>
            <a:ext cx="1622261" cy="326882"/>
            <a:chOff x="122238" y="4995863"/>
            <a:chExt cx="7208837" cy="145256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1" name="Freeform 25"/>
            <p:cNvSpPr>
              <a:spLocks noEditPoints="1"/>
            </p:cNvSpPr>
            <p:nvPr/>
          </p:nvSpPr>
          <p:spPr bwMode="auto">
            <a:xfrm>
              <a:off x="122238" y="5021263"/>
              <a:ext cx="787400" cy="1065212"/>
            </a:xfrm>
            <a:custGeom>
              <a:avLst/>
              <a:gdLst/>
              <a:ahLst/>
              <a:cxnLst>
                <a:cxn ang="0">
                  <a:pos x="469" y="204"/>
                </a:cxn>
                <a:cxn ang="0">
                  <a:pos x="577" y="221"/>
                </a:cxn>
                <a:cxn ang="0">
                  <a:pos x="648" y="258"/>
                </a:cxn>
                <a:cxn ang="0">
                  <a:pos x="681" y="301"/>
                </a:cxn>
                <a:cxn ang="0">
                  <a:pos x="696" y="376"/>
                </a:cxn>
                <a:cxn ang="0">
                  <a:pos x="688" y="429"/>
                </a:cxn>
                <a:cxn ang="0">
                  <a:pos x="650" y="486"/>
                </a:cxn>
                <a:cxn ang="0">
                  <a:pos x="583" y="526"/>
                </a:cxn>
                <a:cxn ang="0">
                  <a:pos x="486" y="544"/>
                </a:cxn>
                <a:cxn ang="0">
                  <a:pos x="0" y="1342"/>
                </a:cxn>
                <a:cxn ang="0">
                  <a:pos x="579" y="1338"/>
                </a:cxn>
                <a:cxn ang="0">
                  <a:pos x="670" y="1323"/>
                </a:cxn>
                <a:cxn ang="0">
                  <a:pos x="756" y="1298"/>
                </a:cxn>
                <a:cxn ang="0">
                  <a:pos x="833" y="1260"/>
                </a:cxn>
                <a:cxn ang="0">
                  <a:pos x="899" y="1208"/>
                </a:cxn>
                <a:cxn ang="0">
                  <a:pos x="949" y="1142"/>
                </a:cxn>
                <a:cxn ang="0">
                  <a:pos x="981" y="1059"/>
                </a:cxn>
                <a:cxn ang="0">
                  <a:pos x="992" y="959"/>
                </a:cxn>
                <a:cxn ang="0">
                  <a:pos x="989" y="911"/>
                </a:cxn>
                <a:cxn ang="0">
                  <a:pos x="975" y="852"/>
                </a:cxn>
                <a:cxn ang="0">
                  <a:pos x="953" y="798"/>
                </a:cxn>
                <a:cxn ang="0">
                  <a:pos x="920" y="750"/>
                </a:cxn>
                <a:cxn ang="0">
                  <a:pos x="879" y="709"/>
                </a:cxn>
                <a:cxn ang="0">
                  <a:pos x="831" y="676"/>
                </a:cxn>
                <a:cxn ang="0">
                  <a:pos x="777" y="651"/>
                </a:cxn>
                <a:cxn ang="0">
                  <a:pos x="717" y="636"/>
                </a:cxn>
                <a:cxn ang="0">
                  <a:pos x="727" y="622"/>
                </a:cxn>
                <a:cxn ang="0">
                  <a:pos x="817" y="575"/>
                </a:cxn>
                <a:cxn ang="0">
                  <a:pos x="885" y="506"/>
                </a:cxn>
                <a:cxn ang="0">
                  <a:pos x="925" y="416"/>
                </a:cxn>
                <a:cxn ang="0">
                  <a:pos x="935" y="337"/>
                </a:cxn>
                <a:cxn ang="0">
                  <a:pos x="926" y="252"/>
                </a:cxn>
                <a:cxn ang="0">
                  <a:pos x="900" y="181"/>
                </a:cxn>
                <a:cxn ang="0">
                  <a:pos x="859" y="122"/>
                </a:cxn>
                <a:cxn ang="0">
                  <a:pos x="805" y="76"/>
                </a:cxn>
                <a:cxn ang="0">
                  <a:pos x="743" y="41"/>
                </a:cxn>
                <a:cxn ang="0">
                  <a:pos x="673" y="18"/>
                </a:cxn>
                <a:cxn ang="0">
                  <a:pos x="599" y="4"/>
                </a:cxn>
                <a:cxn ang="0">
                  <a:pos x="0" y="1342"/>
                </a:cxn>
                <a:cxn ang="0">
                  <a:pos x="503" y="751"/>
                </a:cxn>
                <a:cxn ang="0">
                  <a:pos x="620" y="765"/>
                </a:cxn>
                <a:cxn ang="0">
                  <a:pos x="683" y="792"/>
                </a:cxn>
                <a:cxn ang="0">
                  <a:pos x="714" y="818"/>
                </a:cxn>
                <a:cxn ang="0">
                  <a:pos x="736" y="851"/>
                </a:cxn>
                <a:cxn ang="0">
                  <a:pos x="749" y="892"/>
                </a:cxn>
                <a:cxn ang="0">
                  <a:pos x="752" y="956"/>
                </a:cxn>
                <a:cxn ang="0">
                  <a:pos x="742" y="1012"/>
                </a:cxn>
                <a:cxn ang="0">
                  <a:pos x="717" y="1055"/>
                </a:cxn>
                <a:cxn ang="0">
                  <a:pos x="683" y="1087"/>
                </a:cxn>
                <a:cxn ang="0">
                  <a:pos x="630" y="1114"/>
                </a:cxn>
                <a:cxn ang="0">
                  <a:pos x="532" y="1134"/>
                </a:cxn>
                <a:cxn ang="0">
                  <a:pos x="238" y="1137"/>
                </a:cxn>
              </a:cxnLst>
              <a:rect l="0" t="0" r="r" b="b"/>
              <a:pathLst>
                <a:path w="992" h="1342">
                  <a:moveTo>
                    <a:pt x="238" y="204"/>
                  </a:moveTo>
                  <a:lnTo>
                    <a:pt x="436" y="204"/>
                  </a:lnTo>
                  <a:lnTo>
                    <a:pt x="436" y="204"/>
                  </a:lnTo>
                  <a:lnTo>
                    <a:pt x="469" y="204"/>
                  </a:lnTo>
                  <a:lnTo>
                    <a:pt x="499" y="206"/>
                  </a:lnTo>
                  <a:lnTo>
                    <a:pt x="527" y="210"/>
                  </a:lnTo>
                  <a:lnTo>
                    <a:pt x="553" y="214"/>
                  </a:lnTo>
                  <a:lnTo>
                    <a:pt x="577" y="221"/>
                  </a:lnTo>
                  <a:lnTo>
                    <a:pt x="597" y="228"/>
                  </a:lnTo>
                  <a:lnTo>
                    <a:pt x="616" y="237"/>
                  </a:lnTo>
                  <a:lnTo>
                    <a:pt x="634" y="247"/>
                  </a:lnTo>
                  <a:lnTo>
                    <a:pt x="648" y="258"/>
                  </a:lnTo>
                  <a:lnTo>
                    <a:pt x="661" y="271"/>
                  </a:lnTo>
                  <a:lnTo>
                    <a:pt x="667" y="278"/>
                  </a:lnTo>
                  <a:lnTo>
                    <a:pt x="672" y="285"/>
                  </a:lnTo>
                  <a:lnTo>
                    <a:pt x="681" y="301"/>
                  </a:lnTo>
                  <a:lnTo>
                    <a:pt x="688" y="317"/>
                  </a:lnTo>
                  <a:lnTo>
                    <a:pt x="692" y="336"/>
                  </a:lnTo>
                  <a:lnTo>
                    <a:pt x="695" y="355"/>
                  </a:lnTo>
                  <a:lnTo>
                    <a:pt x="696" y="376"/>
                  </a:lnTo>
                  <a:lnTo>
                    <a:pt x="696" y="376"/>
                  </a:lnTo>
                  <a:lnTo>
                    <a:pt x="695" y="395"/>
                  </a:lnTo>
                  <a:lnTo>
                    <a:pt x="692" y="413"/>
                  </a:lnTo>
                  <a:lnTo>
                    <a:pt x="688" y="429"/>
                  </a:lnTo>
                  <a:lnTo>
                    <a:pt x="681" y="446"/>
                  </a:lnTo>
                  <a:lnTo>
                    <a:pt x="672" y="460"/>
                  </a:lnTo>
                  <a:lnTo>
                    <a:pt x="662" y="474"/>
                  </a:lnTo>
                  <a:lnTo>
                    <a:pt x="650" y="486"/>
                  </a:lnTo>
                  <a:lnTo>
                    <a:pt x="636" y="499"/>
                  </a:lnTo>
                  <a:lnTo>
                    <a:pt x="620" y="509"/>
                  </a:lnTo>
                  <a:lnTo>
                    <a:pt x="602" y="518"/>
                  </a:lnTo>
                  <a:lnTo>
                    <a:pt x="583" y="526"/>
                  </a:lnTo>
                  <a:lnTo>
                    <a:pt x="561" y="533"/>
                  </a:lnTo>
                  <a:lnTo>
                    <a:pt x="538" y="538"/>
                  </a:lnTo>
                  <a:lnTo>
                    <a:pt x="513" y="542"/>
                  </a:lnTo>
                  <a:lnTo>
                    <a:pt x="486" y="544"/>
                  </a:lnTo>
                  <a:lnTo>
                    <a:pt x="457" y="545"/>
                  </a:lnTo>
                  <a:lnTo>
                    <a:pt x="238" y="545"/>
                  </a:lnTo>
                  <a:lnTo>
                    <a:pt x="238" y="204"/>
                  </a:lnTo>
                  <a:close/>
                  <a:moveTo>
                    <a:pt x="0" y="1342"/>
                  </a:moveTo>
                  <a:lnTo>
                    <a:pt x="484" y="1342"/>
                  </a:lnTo>
                  <a:lnTo>
                    <a:pt x="484" y="1342"/>
                  </a:lnTo>
                  <a:lnTo>
                    <a:pt x="531" y="1341"/>
                  </a:lnTo>
                  <a:lnTo>
                    <a:pt x="579" y="1338"/>
                  </a:lnTo>
                  <a:lnTo>
                    <a:pt x="602" y="1335"/>
                  </a:lnTo>
                  <a:lnTo>
                    <a:pt x="625" y="1332"/>
                  </a:lnTo>
                  <a:lnTo>
                    <a:pt x="648" y="1328"/>
                  </a:lnTo>
                  <a:lnTo>
                    <a:pt x="670" y="1323"/>
                  </a:lnTo>
                  <a:lnTo>
                    <a:pt x="693" y="1318"/>
                  </a:lnTo>
                  <a:lnTo>
                    <a:pt x="714" y="1312"/>
                  </a:lnTo>
                  <a:lnTo>
                    <a:pt x="736" y="1305"/>
                  </a:lnTo>
                  <a:lnTo>
                    <a:pt x="756" y="1298"/>
                  </a:lnTo>
                  <a:lnTo>
                    <a:pt x="776" y="1290"/>
                  </a:lnTo>
                  <a:lnTo>
                    <a:pt x="796" y="1281"/>
                  </a:lnTo>
                  <a:lnTo>
                    <a:pt x="815" y="1271"/>
                  </a:lnTo>
                  <a:lnTo>
                    <a:pt x="833" y="1260"/>
                  </a:lnTo>
                  <a:lnTo>
                    <a:pt x="851" y="1248"/>
                  </a:lnTo>
                  <a:lnTo>
                    <a:pt x="867" y="1236"/>
                  </a:lnTo>
                  <a:lnTo>
                    <a:pt x="883" y="1223"/>
                  </a:lnTo>
                  <a:lnTo>
                    <a:pt x="899" y="1208"/>
                  </a:lnTo>
                  <a:lnTo>
                    <a:pt x="912" y="1193"/>
                  </a:lnTo>
                  <a:lnTo>
                    <a:pt x="925" y="1177"/>
                  </a:lnTo>
                  <a:lnTo>
                    <a:pt x="937" y="1161"/>
                  </a:lnTo>
                  <a:lnTo>
                    <a:pt x="949" y="1142"/>
                  </a:lnTo>
                  <a:lnTo>
                    <a:pt x="959" y="1123"/>
                  </a:lnTo>
                  <a:lnTo>
                    <a:pt x="967" y="1102"/>
                  </a:lnTo>
                  <a:lnTo>
                    <a:pt x="975" y="1081"/>
                  </a:lnTo>
                  <a:lnTo>
                    <a:pt x="981" y="1059"/>
                  </a:lnTo>
                  <a:lnTo>
                    <a:pt x="985" y="1036"/>
                  </a:lnTo>
                  <a:lnTo>
                    <a:pt x="989" y="1011"/>
                  </a:lnTo>
                  <a:lnTo>
                    <a:pt x="991" y="985"/>
                  </a:lnTo>
                  <a:lnTo>
                    <a:pt x="992" y="959"/>
                  </a:lnTo>
                  <a:lnTo>
                    <a:pt x="992" y="959"/>
                  </a:lnTo>
                  <a:lnTo>
                    <a:pt x="992" y="943"/>
                  </a:lnTo>
                  <a:lnTo>
                    <a:pt x="990" y="927"/>
                  </a:lnTo>
                  <a:lnTo>
                    <a:pt x="989" y="911"/>
                  </a:lnTo>
                  <a:lnTo>
                    <a:pt x="986" y="896"/>
                  </a:lnTo>
                  <a:lnTo>
                    <a:pt x="983" y="881"/>
                  </a:lnTo>
                  <a:lnTo>
                    <a:pt x="980" y="866"/>
                  </a:lnTo>
                  <a:lnTo>
                    <a:pt x="975" y="852"/>
                  </a:lnTo>
                  <a:lnTo>
                    <a:pt x="971" y="838"/>
                  </a:lnTo>
                  <a:lnTo>
                    <a:pt x="965" y="824"/>
                  </a:lnTo>
                  <a:lnTo>
                    <a:pt x="959" y="811"/>
                  </a:lnTo>
                  <a:lnTo>
                    <a:pt x="953" y="798"/>
                  </a:lnTo>
                  <a:lnTo>
                    <a:pt x="944" y="786"/>
                  </a:lnTo>
                  <a:lnTo>
                    <a:pt x="937" y="774"/>
                  </a:lnTo>
                  <a:lnTo>
                    <a:pt x="928" y="761"/>
                  </a:lnTo>
                  <a:lnTo>
                    <a:pt x="920" y="750"/>
                  </a:lnTo>
                  <a:lnTo>
                    <a:pt x="910" y="739"/>
                  </a:lnTo>
                  <a:lnTo>
                    <a:pt x="901" y="729"/>
                  </a:lnTo>
                  <a:lnTo>
                    <a:pt x="890" y="719"/>
                  </a:lnTo>
                  <a:lnTo>
                    <a:pt x="879" y="709"/>
                  </a:lnTo>
                  <a:lnTo>
                    <a:pt x="868" y="700"/>
                  </a:lnTo>
                  <a:lnTo>
                    <a:pt x="856" y="691"/>
                  </a:lnTo>
                  <a:lnTo>
                    <a:pt x="844" y="683"/>
                  </a:lnTo>
                  <a:lnTo>
                    <a:pt x="831" y="676"/>
                  </a:lnTo>
                  <a:lnTo>
                    <a:pt x="818" y="669"/>
                  </a:lnTo>
                  <a:lnTo>
                    <a:pt x="805" y="663"/>
                  </a:lnTo>
                  <a:lnTo>
                    <a:pt x="792" y="656"/>
                  </a:lnTo>
                  <a:lnTo>
                    <a:pt x="777" y="651"/>
                  </a:lnTo>
                  <a:lnTo>
                    <a:pt x="762" y="646"/>
                  </a:lnTo>
                  <a:lnTo>
                    <a:pt x="748" y="642"/>
                  </a:lnTo>
                  <a:lnTo>
                    <a:pt x="733" y="639"/>
                  </a:lnTo>
                  <a:lnTo>
                    <a:pt x="717" y="636"/>
                  </a:lnTo>
                  <a:lnTo>
                    <a:pt x="702" y="634"/>
                  </a:lnTo>
                  <a:lnTo>
                    <a:pt x="702" y="631"/>
                  </a:lnTo>
                  <a:lnTo>
                    <a:pt x="702" y="631"/>
                  </a:lnTo>
                  <a:lnTo>
                    <a:pt x="727" y="622"/>
                  </a:lnTo>
                  <a:lnTo>
                    <a:pt x="752" y="613"/>
                  </a:lnTo>
                  <a:lnTo>
                    <a:pt x="774" y="601"/>
                  </a:lnTo>
                  <a:lnTo>
                    <a:pt x="797" y="588"/>
                  </a:lnTo>
                  <a:lnTo>
                    <a:pt x="817" y="575"/>
                  </a:lnTo>
                  <a:lnTo>
                    <a:pt x="836" y="560"/>
                  </a:lnTo>
                  <a:lnTo>
                    <a:pt x="854" y="542"/>
                  </a:lnTo>
                  <a:lnTo>
                    <a:pt x="870" y="525"/>
                  </a:lnTo>
                  <a:lnTo>
                    <a:pt x="885" y="506"/>
                  </a:lnTo>
                  <a:lnTo>
                    <a:pt x="898" y="485"/>
                  </a:lnTo>
                  <a:lnTo>
                    <a:pt x="909" y="464"/>
                  </a:lnTo>
                  <a:lnTo>
                    <a:pt x="918" y="441"/>
                  </a:lnTo>
                  <a:lnTo>
                    <a:pt x="925" y="416"/>
                  </a:lnTo>
                  <a:lnTo>
                    <a:pt x="931" y="391"/>
                  </a:lnTo>
                  <a:lnTo>
                    <a:pt x="934" y="364"/>
                  </a:lnTo>
                  <a:lnTo>
                    <a:pt x="935" y="337"/>
                  </a:lnTo>
                  <a:lnTo>
                    <a:pt x="935" y="337"/>
                  </a:lnTo>
                  <a:lnTo>
                    <a:pt x="934" y="314"/>
                  </a:lnTo>
                  <a:lnTo>
                    <a:pt x="932" y="293"/>
                  </a:lnTo>
                  <a:lnTo>
                    <a:pt x="930" y="271"/>
                  </a:lnTo>
                  <a:lnTo>
                    <a:pt x="926" y="252"/>
                  </a:lnTo>
                  <a:lnTo>
                    <a:pt x="921" y="233"/>
                  </a:lnTo>
                  <a:lnTo>
                    <a:pt x="915" y="214"/>
                  </a:lnTo>
                  <a:lnTo>
                    <a:pt x="908" y="197"/>
                  </a:lnTo>
                  <a:lnTo>
                    <a:pt x="900" y="181"/>
                  </a:lnTo>
                  <a:lnTo>
                    <a:pt x="890" y="165"/>
                  </a:lnTo>
                  <a:lnTo>
                    <a:pt x="880" y="150"/>
                  </a:lnTo>
                  <a:lnTo>
                    <a:pt x="870" y="136"/>
                  </a:lnTo>
                  <a:lnTo>
                    <a:pt x="859" y="122"/>
                  </a:lnTo>
                  <a:lnTo>
                    <a:pt x="847" y="110"/>
                  </a:lnTo>
                  <a:lnTo>
                    <a:pt x="833" y="97"/>
                  </a:lnTo>
                  <a:lnTo>
                    <a:pt x="819" y="86"/>
                  </a:lnTo>
                  <a:lnTo>
                    <a:pt x="805" y="76"/>
                  </a:lnTo>
                  <a:lnTo>
                    <a:pt x="791" y="67"/>
                  </a:lnTo>
                  <a:lnTo>
                    <a:pt x="775" y="58"/>
                  </a:lnTo>
                  <a:lnTo>
                    <a:pt x="759" y="49"/>
                  </a:lnTo>
                  <a:lnTo>
                    <a:pt x="743" y="41"/>
                  </a:lnTo>
                  <a:lnTo>
                    <a:pt x="726" y="34"/>
                  </a:lnTo>
                  <a:lnTo>
                    <a:pt x="709" y="28"/>
                  </a:lnTo>
                  <a:lnTo>
                    <a:pt x="691" y="22"/>
                  </a:lnTo>
                  <a:lnTo>
                    <a:pt x="673" y="18"/>
                  </a:lnTo>
                  <a:lnTo>
                    <a:pt x="655" y="13"/>
                  </a:lnTo>
                  <a:lnTo>
                    <a:pt x="637" y="10"/>
                  </a:lnTo>
                  <a:lnTo>
                    <a:pt x="618" y="6"/>
                  </a:lnTo>
                  <a:lnTo>
                    <a:pt x="599" y="4"/>
                  </a:lnTo>
                  <a:lnTo>
                    <a:pt x="561" y="1"/>
                  </a:lnTo>
                  <a:lnTo>
                    <a:pt x="524" y="0"/>
                  </a:lnTo>
                  <a:lnTo>
                    <a:pt x="0" y="0"/>
                  </a:lnTo>
                  <a:lnTo>
                    <a:pt x="0" y="1342"/>
                  </a:lnTo>
                  <a:close/>
                  <a:moveTo>
                    <a:pt x="238" y="750"/>
                  </a:moveTo>
                  <a:lnTo>
                    <a:pt x="468" y="750"/>
                  </a:lnTo>
                  <a:lnTo>
                    <a:pt x="468" y="750"/>
                  </a:lnTo>
                  <a:lnTo>
                    <a:pt x="503" y="751"/>
                  </a:lnTo>
                  <a:lnTo>
                    <a:pt x="536" y="752"/>
                  </a:lnTo>
                  <a:lnTo>
                    <a:pt x="566" y="755"/>
                  </a:lnTo>
                  <a:lnTo>
                    <a:pt x="594" y="760"/>
                  </a:lnTo>
                  <a:lnTo>
                    <a:pt x="620" y="765"/>
                  </a:lnTo>
                  <a:lnTo>
                    <a:pt x="643" y="774"/>
                  </a:lnTo>
                  <a:lnTo>
                    <a:pt x="664" y="782"/>
                  </a:lnTo>
                  <a:lnTo>
                    <a:pt x="674" y="787"/>
                  </a:lnTo>
                  <a:lnTo>
                    <a:pt x="683" y="792"/>
                  </a:lnTo>
                  <a:lnTo>
                    <a:pt x="692" y="798"/>
                  </a:lnTo>
                  <a:lnTo>
                    <a:pt x="700" y="804"/>
                  </a:lnTo>
                  <a:lnTo>
                    <a:pt x="707" y="811"/>
                  </a:lnTo>
                  <a:lnTo>
                    <a:pt x="714" y="818"/>
                  </a:lnTo>
                  <a:lnTo>
                    <a:pt x="720" y="825"/>
                  </a:lnTo>
                  <a:lnTo>
                    <a:pt x="725" y="834"/>
                  </a:lnTo>
                  <a:lnTo>
                    <a:pt x="731" y="842"/>
                  </a:lnTo>
                  <a:lnTo>
                    <a:pt x="736" y="851"/>
                  </a:lnTo>
                  <a:lnTo>
                    <a:pt x="740" y="860"/>
                  </a:lnTo>
                  <a:lnTo>
                    <a:pt x="743" y="870"/>
                  </a:lnTo>
                  <a:lnTo>
                    <a:pt x="746" y="880"/>
                  </a:lnTo>
                  <a:lnTo>
                    <a:pt x="749" y="892"/>
                  </a:lnTo>
                  <a:lnTo>
                    <a:pt x="752" y="915"/>
                  </a:lnTo>
                  <a:lnTo>
                    <a:pt x="753" y="940"/>
                  </a:lnTo>
                  <a:lnTo>
                    <a:pt x="753" y="940"/>
                  </a:lnTo>
                  <a:lnTo>
                    <a:pt x="752" y="956"/>
                  </a:lnTo>
                  <a:lnTo>
                    <a:pt x="751" y="971"/>
                  </a:lnTo>
                  <a:lnTo>
                    <a:pt x="749" y="985"/>
                  </a:lnTo>
                  <a:lnTo>
                    <a:pt x="746" y="999"/>
                  </a:lnTo>
                  <a:lnTo>
                    <a:pt x="742" y="1012"/>
                  </a:lnTo>
                  <a:lnTo>
                    <a:pt x="737" y="1024"/>
                  </a:lnTo>
                  <a:lnTo>
                    <a:pt x="731" y="1035"/>
                  </a:lnTo>
                  <a:lnTo>
                    <a:pt x="724" y="1045"/>
                  </a:lnTo>
                  <a:lnTo>
                    <a:pt x="717" y="1055"/>
                  </a:lnTo>
                  <a:lnTo>
                    <a:pt x="709" y="1064"/>
                  </a:lnTo>
                  <a:lnTo>
                    <a:pt x="701" y="1072"/>
                  </a:lnTo>
                  <a:lnTo>
                    <a:pt x="693" y="1080"/>
                  </a:lnTo>
                  <a:lnTo>
                    <a:pt x="683" y="1087"/>
                  </a:lnTo>
                  <a:lnTo>
                    <a:pt x="673" y="1093"/>
                  </a:lnTo>
                  <a:lnTo>
                    <a:pt x="663" y="1099"/>
                  </a:lnTo>
                  <a:lnTo>
                    <a:pt x="652" y="1105"/>
                  </a:lnTo>
                  <a:lnTo>
                    <a:pt x="630" y="1114"/>
                  </a:lnTo>
                  <a:lnTo>
                    <a:pt x="606" y="1121"/>
                  </a:lnTo>
                  <a:lnTo>
                    <a:pt x="582" y="1127"/>
                  </a:lnTo>
                  <a:lnTo>
                    <a:pt x="557" y="1131"/>
                  </a:lnTo>
                  <a:lnTo>
                    <a:pt x="532" y="1134"/>
                  </a:lnTo>
                  <a:lnTo>
                    <a:pt x="507" y="1136"/>
                  </a:lnTo>
                  <a:lnTo>
                    <a:pt x="483" y="1137"/>
                  </a:lnTo>
                  <a:lnTo>
                    <a:pt x="458" y="1137"/>
                  </a:lnTo>
                  <a:lnTo>
                    <a:pt x="238" y="1137"/>
                  </a:lnTo>
                  <a:lnTo>
                    <a:pt x="238" y="750"/>
                  </a:lnTo>
                  <a:close/>
                </a:path>
              </a:pathLst>
            </a:custGeom>
            <a:solidFill>
              <a:srgbClr val="60606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06060"/>
                </a:solidFill>
              </a:endParaRPr>
            </a:p>
          </p:txBody>
        </p:sp>
        <p:sp>
          <p:nvSpPr>
            <p:cNvPr id="22" name="Rectangle 26"/>
            <p:cNvSpPr>
              <a:spLocks noChangeArrowheads="1"/>
            </p:cNvSpPr>
            <p:nvPr/>
          </p:nvSpPr>
          <p:spPr bwMode="auto">
            <a:xfrm>
              <a:off x="1033463" y="4995863"/>
              <a:ext cx="180975" cy="1090612"/>
            </a:xfrm>
            <a:prstGeom prst="rect">
              <a:avLst/>
            </a:prstGeom>
            <a:solidFill>
              <a:srgbClr val="60606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06060"/>
                </a:solidFill>
              </a:endParaRPr>
            </a:p>
          </p:txBody>
        </p:sp>
        <p:sp>
          <p:nvSpPr>
            <p:cNvPr id="23" name="Freeform 27"/>
            <p:cNvSpPr>
              <a:spLocks noEditPoints="1"/>
            </p:cNvSpPr>
            <p:nvPr/>
          </p:nvSpPr>
          <p:spPr bwMode="auto">
            <a:xfrm>
              <a:off x="1335088" y="5346700"/>
              <a:ext cx="785812" cy="758825"/>
            </a:xfrm>
            <a:custGeom>
              <a:avLst/>
              <a:gdLst/>
              <a:ahLst/>
              <a:cxnLst>
                <a:cxn ang="0">
                  <a:pos x="444" y="2"/>
                </a:cxn>
                <a:cxn ang="0">
                  <a:pos x="348" y="19"/>
                </a:cxn>
                <a:cxn ang="0">
                  <a:pos x="259" y="53"/>
                </a:cxn>
                <a:cxn ang="0">
                  <a:pos x="180" y="102"/>
                </a:cxn>
                <a:cxn ang="0">
                  <a:pos x="112" y="164"/>
                </a:cxn>
                <a:cxn ang="0">
                  <a:pos x="59" y="240"/>
                </a:cxn>
                <a:cxn ang="0">
                  <a:pos x="23" y="327"/>
                </a:cxn>
                <a:cxn ang="0">
                  <a:pos x="3" y="425"/>
                </a:cxn>
                <a:cxn ang="0">
                  <a:pos x="1" y="504"/>
                </a:cxn>
                <a:cxn ang="0">
                  <a:pos x="16" y="605"/>
                </a:cxn>
                <a:cxn ang="0">
                  <a:pos x="49" y="694"/>
                </a:cxn>
                <a:cxn ang="0">
                  <a:pos x="98" y="773"/>
                </a:cxn>
                <a:cxn ang="0">
                  <a:pos x="162" y="839"/>
                </a:cxn>
                <a:cxn ang="0">
                  <a:pos x="238" y="892"/>
                </a:cxn>
                <a:cxn ang="0">
                  <a:pos x="324" y="929"/>
                </a:cxn>
                <a:cxn ang="0">
                  <a:pos x="420" y="950"/>
                </a:cxn>
                <a:cxn ang="0">
                  <a:pos x="495" y="955"/>
                </a:cxn>
                <a:cxn ang="0">
                  <a:pos x="596" y="947"/>
                </a:cxn>
                <a:cxn ang="0">
                  <a:pos x="689" y="922"/>
                </a:cxn>
                <a:cxn ang="0">
                  <a:pos x="774" y="880"/>
                </a:cxn>
                <a:cxn ang="0">
                  <a:pos x="846" y="824"/>
                </a:cxn>
                <a:cxn ang="0">
                  <a:pos x="907" y="755"/>
                </a:cxn>
                <a:cxn ang="0">
                  <a:pos x="952" y="673"/>
                </a:cxn>
                <a:cxn ang="0">
                  <a:pos x="980" y="580"/>
                </a:cxn>
                <a:cxn ang="0">
                  <a:pos x="991" y="478"/>
                </a:cxn>
                <a:cxn ang="0">
                  <a:pos x="985" y="399"/>
                </a:cxn>
                <a:cxn ang="0">
                  <a:pos x="961" y="304"/>
                </a:cxn>
                <a:cxn ang="0">
                  <a:pos x="919" y="220"/>
                </a:cxn>
                <a:cxn ang="0">
                  <a:pos x="862" y="148"/>
                </a:cxn>
                <a:cxn ang="0">
                  <a:pos x="793" y="88"/>
                </a:cxn>
                <a:cxn ang="0">
                  <a:pos x="711" y="43"/>
                </a:cxn>
                <a:cxn ang="0">
                  <a:pos x="620" y="13"/>
                </a:cxn>
                <a:cxn ang="0">
                  <a:pos x="521" y="0"/>
                </a:cxn>
                <a:cxn ang="0">
                  <a:pos x="495" y="751"/>
                </a:cxn>
                <a:cxn ang="0">
                  <a:pos x="436" y="745"/>
                </a:cxn>
                <a:cxn ang="0">
                  <a:pos x="383" y="728"/>
                </a:cxn>
                <a:cxn ang="0">
                  <a:pos x="338" y="702"/>
                </a:cxn>
                <a:cxn ang="0">
                  <a:pos x="299" y="668"/>
                </a:cxn>
                <a:cxn ang="0">
                  <a:pos x="268" y="626"/>
                </a:cxn>
                <a:cxn ang="0">
                  <a:pos x="233" y="531"/>
                </a:cxn>
                <a:cxn ang="0">
                  <a:pos x="230" y="451"/>
                </a:cxn>
                <a:cxn ang="0">
                  <a:pos x="256" y="351"/>
                </a:cxn>
                <a:cxn ang="0">
                  <a:pos x="291" y="297"/>
                </a:cxn>
                <a:cxn ang="0">
                  <a:pos x="327" y="262"/>
                </a:cxn>
                <a:cxn ang="0">
                  <a:pos x="371" y="233"/>
                </a:cxn>
                <a:cxn ang="0">
                  <a:pos x="422" y="214"/>
                </a:cxn>
                <a:cxn ang="0">
                  <a:pos x="480" y="205"/>
                </a:cxn>
                <a:cxn ang="0">
                  <a:pos x="526" y="206"/>
                </a:cxn>
                <a:cxn ang="0">
                  <a:pos x="582" y="218"/>
                </a:cxn>
                <a:cxn ang="0">
                  <a:pos x="632" y="239"/>
                </a:cxn>
                <a:cxn ang="0">
                  <a:pos x="674" y="270"/>
                </a:cxn>
                <a:cxn ang="0">
                  <a:pos x="708" y="308"/>
                </a:cxn>
                <a:cxn ang="0">
                  <a:pos x="745" y="375"/>
                </a:cxn>
                <a:cxn ang="0">
                  <a:pos x="763" y="478"/>
                </a:cxn>
                <a:cxn ang="0">
                  <a:pos x="752" y="556"/>
                </a:cxn>
                <a:cxn ang="0">
                  <a:pos x="716" y="637"/>
                </a:cxn>
                <a:cxn ang="0">
                  <a:pos x="683" y="677"/>
                </a:cxn>
                <a:cxn ang="0">
                  <a:pos x="643" y="710"/>
                </a:cxn>
                <a:cxn ang="0">
                  <a:pos x="595" y="733"/>
                </a:cxn>
                <a:cxn ang="0">
                  <a:pos x="541" y="747"/>
                </a:cxn>
                <a:cxn ang="0">
                  <a:pos x="495" y="751"/>
                </a:cxn>
              </a:cxnLst>
              <a:rect l="0" t="0" r="r" b="b"/>
              <a:pathLst>
                <a:path w="991" h="955">
                  <a:moveTo>
                    <a:pt x="495" y="0"/>
                  </a:moveTo>
                  <a:lnTo>
                    <a:pt x="495" y="0"/>
                  </a:lnTo>
                  <a:lnTo>
                    <a:pt x="470" y="0"/>
                  </a:lnTo>
                  <a:lnTo>
                    <a:pt x="444" y="2"/>
                  </a:lnTo>
                  <a:lnTo>
                    <a:pt x="420" y="5"/>
                  </a:lnTo>
                  <a:lnTo>
                    <a:pt x="396" y="8"/>
                  </a:lnTo>
                  <a:lnTo>
                    <a:pt x="371" y="13"/>
                  </a:lnTo>
                  <a:lnTo>
                    <a:pt x="348" y="19"/>
                  </a:lnTo>
                  <a:lnTo>
                    <a:pt x="324" y="26"/>
                  </a:lnTo>
                  <a:lnTo>
                    <a:pt x="302" y="35"/>
                  </a:lnTo>
                  <a:lnTo>
                    <a:pt x="280" y="43"/>
                  </a:lnTo>
                  <a:lnTo>
                    <a:pt x="259" y="53"/>
                  </a:lnTo>
                  <a:lnTo>
                    <a:pt x="238" y="64"/>
                  </a:lnTo>
                  <a:lnTo>
                    <a:pt x="218" y="75"/>
                  </a:lnTo>
                  <a:lnTo>
                    <a:pt x="199" y="88"/>
                  </a:lnTo>
                  <a:lnTo>
                    <a:pt x="180" y="102"/>
                  </a:lnTo>
                  <a:lnTo>
                    <a:pt x="162" y="116"/>
                  </a:lnTo>
                  <a:lnTo>
                    <a:pt x="145" y="131"/>
                  </a:lnTo>
                  <a:lnTo>
                    <a:pt x="129" y="148"/>
                  </a:lnTo>
                  <a:lnTo>
                    <a:pt x="112" y="164"/>
                  </a:lnTo>
                  <a:lnTo>
                    <a:pt x="98" y="182"/>
                  </a:lnTo>
                  <a:lnTo>
                    <a:pt x="85" y="201"/>
                  </a:lnTo>
                  <a:lnTo>
                    <a:pt x="72" y="220"/>
                  </a:lnTo>
                  <a:lnTo>
                    <a:pt x="59" y="240"/>
                  </a:lnTo>
                  <a:lnTo>
                    <a:pt x="49" y="261"/>
                  </a:lnTo>
                  <a:lnTo>
                    <a:pt x="39" y="282"/>
                  </a:lnTo>
                  <a:lnTo>
                    <a:pt x="30" y="304"/>
                  </a:lnTo>
                  <a:lnTo>
                    <a:pt x="23" y="327"/>
                  </a:lnTo>
                  <a:lnTo>
                    <a:pt x="16" y="350"/>
                  </a:lnTo>
                  <a:lnTo>
                    <a:pt x="10" y="375"/>
                  </a:lnTo>
                  <a:lnTo>
                    <a:pt x="6" y="399"/>
                  </a:lnTo>
                  <a:lnTo>
                    <a:pt x="3" y="425"/>
                  </a:lnTo>
                  <a:lnTo>
                    <a:pt x="1" y="451"/>
                  </a:lnTo>
                  <a:lnTo>
                    <a:pt x="0" y="478"/>
                  </a:lnTo>
                  <a:lnTo>
                    <a:pt x="0" y="478"/>
                  </a:lnTo>
                  <a:lnTo>
                    <a:pt x="1" y="504"/>
                  </a:lnTo>
                  <a:lnTo>
                    <a:pt x="3" y="531"/>
                  </a:lnTo>
                  <a:lnTo>
                    <a:pt x="6" y="556"/>
                  </a:lnTo>
                  <a:lnTo>
                    <a:pt x="10" y="580"/>
                  </a:lnTo>
                  <a:lnTo>
                    <a:pt x="16" y="605"/>
                  </a:lnTo>
                  <a:lnTo>
                    <a:pt x="23" y="628"/>
                  </a:lnTo>
                  <a:lnTo>
                    <a:pt x="30" y="651"/>
                  </a:lnTo>
                  <a:lnTo>
                    <a:pt x="39" y="673"/>
                  </a:lnTo>
                  <a:lnTo>
                    <a:pt x="49" y="694"/>
                  </a:lnTo>
                  <a:lnTo>
                    <a:pt x="59" y="716"/>
                  </a:lnTo>
                  <a:lnTo>
                    <a:pt x="72" y="735"/>
                  </a:lnTo>
                  <a:lnTo>
                    <a:pt x="85" y="755"/>
                  </a:lnTo>
                  <a:lnTo>
                    <a:pt x="98" y="773"/>
                  </a:lnTo>
                  <a:lnTo>
                    <a:pt x="112" y="791"/>
                  </a:lnTo>
                  <a:lnTo>
                    <a:pt x="129" y="808"/>
                  </a:lnTo>
                  <a:lnTo>
                    <a:pt x="145" y="824"/>
                  </a:lnTo>
                  <a:lnTo>
                    <a:pt x="162" y="839"/>
                  </a:lnTo>
                  <a:lnTo>
                    <a:pt x="180" y="853"/>
                  </a:lnTo>
                  <a:lnTo>
                    <a:pt x="199" y="868"/>
                  </a:lnTo>
                  <a:lnTo>
                    <a:pt x="218" y="880"/>
                  </a:lnTo>
                  <a:lnTo>
                    <a:pt x="238" y="892"/>
                  </a:lnTo>
                  <a:lnTo>
                    <a:pt x="259" y="902"/>
                  </a:lnTo>
                  <a:lnTo>
                    <a:pt x="280" y="912"/>
                  </a:lnTo>
                  <a:lnTo>
                    <a:pt x="302" y="922"/>
                  </a:lnTo>
                  <a:lnTo>
                    <a:pt x="324" y="929"/>
                  </a:lnTo>
                  <a:lnTo>
                    <a:pt x="348" y="936"/>
                  </a:lnTo>
                  <a:lnTo>
                    <a:pt x="371" y="942"/>
                  </a:lnTo>
                  <a:lnTo>
                    <a:pt x="396" y="947"/>
                  </a:lnTo>
                  <a:lnTo>
                    <a:pt x="420" y="950"/>
                  </a:lnTo>
                  <a:lnTo>
                    <a:pt x="444" y="953"/>
                  </a:lnTo>
                  <a:lnTo>
                    <a:pt x="470" y="955"/>
                  </a:lnTo>
                  <a:lnTo>
                    <a:pt x="495" y="955"/>
                  </a:lnTo>
                  <a:lnTo>
                    <a:pt x="495" y="955"/>
                  </a:lnTo>
                  <a:lnTo>
                    <a:pt x="521" y="955"/>
                  </a:lnTo>
                  <a:lnTo>
                    <a:pt x="546" y="953"/>
                  </a:lnTo>
                  <a:lnTo>
                    <a:pt x="572" y="950"/>
                  </a:lnTo>
                  <a:lnTo>
                    <a:pt x="596" y="947"/>
                  </a:lnTo>
                  <a:lnTo>
                    <a:pt x="620" y="942"/>
                  </a:lnTo>
                  <a:lnTo>
                    <a:pt x="643" y="936"/>
                  </a:lnTo>
                  <a:lnTo>
                    <a:pt x="667" y="929"/>
                  </a:lnTo>
                  <a:lnTo>
                    <a:pt x="689" y="922"/>
                  </a:lnTo>
                  <a:lnTo>
                    <a:pt x="711" y="912"/>
                  </a:lnTo>
                  <a:lnTo>
                    <a:pt x="733" y="902"/>
                  </a:lnTo>
                  <a:lnTo>
                    <a:pt x="753" y="892"/>
                  </a:lnTo>
                  <a:lnTo>
                    <a:pt x="774" y="880"/>
                  </a:lnTo>
                  <a:lnTo>
                    <a:pt x="793" y="868"/>
                  </a:lnTo>
                  <a:lnTo>
                    <a:pt x="811" y="853"/>
                  </a:lnTo>
                  <a:lnTo>
                    <a:pt x="830" y="839"/>
                  </a:lnTo>
                  <a:lnTo>
                    <a:pt x="846" y="824"/>
                  </a:lnTo>
                  <a:lnTo>
                    <a:pt x="862" y="808"/>
                  </a:lnTo>
                  <a:lnTo>
                    <a:pt x="879" y="791"/>
                  </a:lnTo>
                  <a:lnTo>
                    <a:pt x="893" y="773"/>
                  </a:lnTo>
                  <a:lnTo>
                    <a:pt x="907" y="755"/>
                  </a:lnTo>
                  <a:lnTo>
                    <a:pt x="919" y="735"/>
                  </a:lnTo>
                  <a:lnTo>
                    <a:pt x="931" y="716"/>
                  </a:lnTo>
                  <a:lnTo>
                    <a:pt x="942" y="694"/>
                  </a:lnTo>
                  <a:lnTo>
                    <a:pt x="952" y="673"/>
                  </a:lnTo>
                  <a:lnTo>
                    <a:pt x="961" y="651"/>
                  </a:lnTo>
                  <a:lnTo>
                    <a:pt x="968" y="628"/>
                  </a:lnTo>
                  <a:lnTo>
                    <a:pt x="975" y="605"/>
                  </a:lnTo>
                  <a:lnTo>
                    <a:pt x="980" y="580"/>
                  </a:lnTo>
                  <a:lnTo>
                    <a:pt x="985" y="556"/>
                  </a:lnTo>
                  <a:lnTo>
                    <a:pt x="989" y="531"/>
                  </a:lnTo>
                  <a:lnTo>
                    <a:pt x="990" y="504"/>
                  </a:lnTo>
                  <a:lnTo>
                    <a:pt x="991" y="478"/>
                  </a:lnTo>
                  <a:lnTo>
                    <a:pt x="991" y="478"/>
                  </a:lnTo>
                  <a:lnTo>
                    <a:pt x="990" y="451"/>
                  </a:lnTo>
                  <a:lnTo>
                    <a:pt x="989" y="425"/>
                  </a:lnTo>
                  <a:lnTo>
                    <a:pt x="985" y="399"/>
                  </a:lnTo>
                  <a:lnTo>
                    <a:pt x="980" y="375"/>
                  </a:lnTo>
                  <a:lnTo>
                    <a:pt x="975" y="350"/>
                  </a:lnTo>
                  <a:lnTo>
                    <a:pt x="968" y="327"/>
                  </a:lnTo>
                  <a:lnTo>
                    <a:pt x="961" y="304"/>
                  </a:lnTo>
                  <a:lnTo>
                    <a:pt x="952" y="282"/>
                  </a:lnTo>
                  <a:lnTo>
                    <a:pt x="942" y="261"/>
                  </a:lnTo>
                  <a:lnTo>
                    <a:pt x="931" y="240"/>
                  </a:lnTo>
                  <a:lnTo>
                    <a:pt x="919" y="220"/>
                  </a:lnTo>
                  <a:lnTo>
                    <a:pt x="907" y="201"/>
                  </a:lnTo>
                  <a:lnTo>
                    <a:pt x="893" y="182"/>
                  </a:lnTo>
                  <a:lnTo>
                    <a:pt x="879" y="164"/>
                  </a:lnTo>
                  <a:lnTo>
                    <a:pt x="862" y="148"/>
                  </a:lnTo>
                  <a:lnTo>
                    <a:pt x="846" y="131"/>
                  </a:lnTo>
                  <a:lnTo>
                    <a:pt x="830" y="116"/>
                  </a:lnTo>
                  <a:lnTo>
                    <a:pt x="811" y="102"/>
                  </a:lnTo>
                  <a:lnTo>
                    <a:pt x="793" y="88"/>
                  </a:lnTo>
                  <a:lnTo>
                    <a:pt x="774" y="75"/>
                  </a:lnTo>
                  <a:lnTo>
                    <a:pt x="753" y="64"/>
                  </a:lnTo>
                  <a:lnTo>
                    <a:pt x="733" y="53"/>
                  </a:lnTo>
                  <a:lnTo>
                    <a:pt x="711" y="43"/>
                  </a:lnTo>
                  <a:lnTo>
                    <a:pt x="689" y="35"/>
                  </a:lnTo>
                  <a:lnTo>
                    <a:pt x="667" y="26"/>
                  </a:lnTo>
                  <a:lnTo>
                    <a:pt x="643" y="19"/>
                  </a:lnTo>
                  <a:lnTo>
                    <a:pt x="620" y="13"/>
                  </a:lnTo>
                  <a:lnTo>
                    <a:pt x="596" y="8"/>
                  </a:lnTo>
                  <a:lnTo>
                    <a:pt x="572" y="5"/>
                  </a:lnTo>
                  <a:lnTo>
                    <a:pt x="546" y="2"/>
                  </a:lnTo>
                  <a:lnTo>
                    <a:pt x="521" y="0"/>
                  </a:lnTo>
                  <a:lnTo>
                    <a:pt x="495" y="0"/>
                  </a:lnTo>
                  <a:lnTo>
                    <a:pt x="495" y="0"/>
                  </a:lnTo>
                  <a:close/>
                  <a:moveTo>
                    <a:pt x="495" y="751"/>
                  </a:moveTo>
                  <a:lnTo>
                    <a:pt x="495" y="751"/>
                  </a:lnTo>
                  <a:lnTo>
                    <a:pt x="480" y="751"/>
                  </a:lnTo>
                  <a:lnTo>
                    <a:pt x="465" y="749"/>
                  </a:lnTo>
                  <a:lnTo>
                    <a:pt x="451" y="747"/>
                  </a:lnTo>
                  <a:lnTo>
                    <a:pt x="436" y="745"/>
                  </a:lnTo>
                  <a:lnTo>
                    <a:pt x="422" y="741"/>
                  </a:lnTo>
                  <a:lnTo>
                    <a:pt x="409" y="738"/>
                  </a:lnTo>
                  <a:lnTo>
                    <a:pt x="396" y="733"/>
                  </a:lnTo>
                  <a:lnTo>
                    <a:pt x="383" y="728"/>
                  </a:lnTo>
                  <a:lnTo>
                    <a:pt x="371" y="723"/>
                  </a:lnTo>
                  <a:lnTo>
                    <a:pt x="360" y="716"/>
                  </a:lnTo>
                  <a:lnTo>
                    <a:pt x="348" y="710"/>
                  </a:lnTo>
                  <a:lnTo>
                    <a:pt x="338" y="702"/>
                  </a:lnTo>
                  <a:lnTo>
                    <a:pt x="327" y="694"/>
                  </a:lnTo>
                  <a:lnTo>
                    <a:pt x="317" y="685"/>
                  </a:lnTo>
                  <a:lnTo>
                    <a:pt x="308" y="677"/>
                  </a:lnTo>
                  <a:lnTo>
                    <a:pt x="299" y="668"/>
                  </a:lnTo>
                  <a:lnTo>
                    <a:pt x="291" y="658"/>
                  </a:lnTo>
                  <a:lnTo>
                    <a:pt x="282" y="648"/>
                  </a:lnTo>
                  <a:lnTo>
                    <a:pt x="275" y="637"/>
                  </a:lnTo>
                  <a:lnTo>
                    <a:pt x="268" y="626"/>
                  </a:lnTo>
                  <a:lnTo>
                    <a:pt x="256" y="604"/>
                  </a:lnTo>
                  <a:lnTo>
                    <a:pt x="246" y="580"/>
                  </a:lnTo>
                  <a:lnTo>
                    <a:pt x="239" y="556"/>
                  </a:lnTo>
                  <a:lnTo>
                    <a:pt x="233" y="531"/>
                  </a:lnTo>
                  <a:lnTo>
                    <a:pt x="230" y="504"/>
                  </a:lnTo>
                  <a:lnTo>
                    <a:pt x="227" y="478"/>
                  </a:lnTo>
                  <a:lnTo>
                    <a:pt x="227" y="478"/>
                  </a:lnTo>
                  <a:lnTo>
                    <a:pt x="230" y="451"/>
                  </a:lnTo>
                  <a:lnTo>
                    <a:pt x="233" y="425"/>
                  </a:lnTo>
                  <a:lnTo>
                    <a:pt x="239" y="399"/>
                  </a:lnTo>
                  <a:lnTo>
                    <a:pt x="246" y="375"/>
                  </a:lnTo>
                  <a:lnTo>
                    <a:pt x="256" y="351"/>
                  </a:lnTo>
                  <a:lnTo>
                    <a:pt x="268" y="329"/>
                  </a:lnTo>
                  <a:lnTo>
                    <a:pt x="275" y="318"/>
                  </a:lnTo>
                  <a:lnTo>
                    <a:pt x="282" y="308"/>
                  </a:lnTo>
                  <a:lnTo>
                    <a:pt x="291" y="297"/>
                  </a:lnTo>
                  <a:lnTo>
                    <a:pt x="299" y="288"/>
                  </a:lnTo>
                  <a:lnTo>
                    <a:pt x="308" y="279"/>
                  </a:lnTo>
                  <a:lnTo>
                    <a:pt x="317" y="270"/>
                  </a:lnTo>
                  <a:lnTo>
                    <a:pt x="327" y="262"/>
                  </a:lnTo>
                  <a:lnTo>
                    <a:pt x="338" y="254"/>
                  </a:lnTo>
                  <a:lnTo>
                    <a:pt x="348" y="246"/>
                  </a:lnTo>
                  <a:lnTo>
                    <a:pt x="360" y="239"/>
                  </a:lnTo>
                  <a:lnTo>
                    <a:pt x="371" y="233"/>
                  </a:lnTo>
                  <a:lnTo>
                    <a:pt x="383" y="227"/>
                  </a:lnTo>
                  <a:lnTo>
                    <a:pt x="396" y="222"/>
                  </a:lnTo>
                  <a:lnTo>
                    <a:pt x="409" y="218"/>
                  </a:lnTo>
                  <a:lnTo>
                    <a:pt x="422" y="214"/>
                  </a:lnTo>
                  <a:lnTo>
                    <a:pt x="436" y="211"/>
                  </a:lnTo>
                  <a:lnTo>
                    <a:pt x="451" y="208"/>
                  </a:lnTo>
                  <a:lnTo>
                    <a:pt x="465" y="206"/>
                  </a:lnTo>
                  <a:lnTo>
                    <a:pt x="480" y="205"/>
                  </a:lnTo>
                  <a:lnTo>
                    <a:pt x="495" y="205"/>
                  </a:lnTo>
                  <a:lnTo>
                    <a:pt x="495" y="205"/>
                  </a:lnTo>
                  <a:lnTo>
                    <a:pt x="511" y="205"/>
                  </a:lnTo>
                  <a:lnTo>
                    <a:pt x="526" y="206"/>
                  </a:lnTo>
                  <a:lnTo>
                    <a:pt x="541" y="208"/>
                  </a:lnTo>
                  <a:lnTo>
                    <a:pt x="555" y="211"/>
                  </a:lnTo>
                  <a:lnTo>
                    <a:pt x="569" y="214"/>
                  </a:lnTo>
                  <a:lnTo>
                    <a:pt x="582" y="218"/>
                  </a:lnTo>
                  <a:lnTo>
                    <a:pt x="595" y="222"/>
                  </a:lnTo>
                  <a:lnTo>
                    <a:pt x="608" y="227"/>
                  </a:lnTo>
                  <a:lnTo>
                    <a:pt x="620" y="233"/>
                  </a:lnTo>
                  <a:lnTo>
                    <a:pt x="632" y="239"/>
                  </a:lnTo>
                  <a:lnTo>
                    <a:pt x="643" y="246"/>
                  </a:lnTo>
                  <a:lnTo>
                    <a:pt x="653" y="254"/>
                  </a:lnTo>
                  <a:lnTo>
                    <a:pt x="664" y="262"/>
                  </a:lnTo>
                  <a:lnTo>
                    <a:pt x="674" y="270"/>
                  </a:lnTo>
                  <a:lnTo>
                    <a:pt x="683" y="279"/>
                  </a:lnTo>
                  <a:lnTo>
                    <a:pt x="692" y="288"/>
                  </a:lnTo>
                  <a:lnTo>
                    <a:pt x="700" y="297"/>
                  </a:lnTo>
                  <a:lnTo>
                    <a:pt x="708" y="308"/>
                  </a:lnTo>
                  <a:lnTo>
                    <a:pt x="716" y="318"/>
                  </a:lnTo>
                  <a:lnTo>
                    <a:pt x="723" y="329"/>
                  </a:lnTo>
                  <a:lnTo>
                    <a:pt x="735" y="351"/>
                  </a:lnTo>
                  <a:lnTo>
                    <a:pt x="745" y="375"/>
                  </a:lnTo>
                  <a:lnTo>
                    <a:pt x="752" y="399"/>
                  </a:lnTo>
                  <a:lnTo>
                    <a:pt x="758" y="425"/>
                  </a:lnTo>
                  <a:lnTo>
                    <a:pt x="761" y="451"/>
                  </a:lnTo>
                  <a:lnTo>
                    <a:pt x="763" y="478"/>
                  </a:lnTo>
                  <a:lnTo>
                    <a:pt x="763" y="478"/>
                  </a:lnTo>
                  <a:lnTo>
                    <a:pt x="761" y="504"/>
                  </a:lnTo>
                  <a:lnTo>
                    <a:pt x="758" y="531"/>
                  </a:lnTo>
                  <a:lnTo>
                    <a:pt x="752" y="556"/>
                  </a:lnTo>
                  <a:lnTo>
                    <a:pt x="745" y="580"/>
                  </a:lnTo>
                  <a:lnTo>
                    <a:pt x="735" y="604"/>
                  </a:lnTo>
                  <a:lnTo>
                    <a:pt x="723" y="626"/>
                  </a:lnTo>
                  <a:lnTo>
                    <a:pt x="716" y="637"/>
                  </a:lnTo>
                  <a:lnTo>
                    <a:pt x="708" y="648"/>
                  </a:lnTo>
                  <a:lnTo>
                    <a:pt x="700" y="658"/>
                  </a:lnTo>
                  <a:lnTo>
                    <a:pt x="692" y="668"/>
                  </a:lnTo>
                  <a:lnTo>
                    <a:pt x="683" y="677"/>
                  </a:lnTo>
                  <a:lnTo>
                    <a:pt x="674" y="685"/>
                  </a:lnTo>
                  <a:lnTo>
                    <a:pt x="664" y="694"/>
                  </a:lnTo>
                  <a:lnTo>
                    <a:pt x="653" y="702"/>
                  </a:lnTo>
                  <a:lnTo>
                    <a:pt x="643" y="710"/>
                  </a:lnTo>
                  <a:lnTo>
                    <a:pt x="632" y="716"/>
                  </a:lnTo>
                  <a:lnTo>
                    <a:pt x="620" y="723"/>
                  </a:lnTo>
                  <a:lnTo>
                    <a:pt x="608" y="728"/>
                  </a:lnTo>
                  <a:lnTo>
                    <a:pt x="595" y="733"/>
                  </a:lnTo>
                  <a:lnTo>
                    <a:pt x="582" y="738"/>
                  </a:lnTo>
                  <a:lnTo>
                    <a:pt x="569" y="741"/>
                  </a:lnTo>
                  <a:lnTo>
                    <a:pt x="555" y="745"/>
                  </a:lnTo>
                  <a:lnTo>
                    <a:pt x="541" y="747"/>
                  </a:lnTo>
                  <a:lnTo>
                    <a:pt x="526" y="749"/>
                  </a:lnTo>
                  <a:lnTo>
                    <a:pt x="511" y="751"/>
                  </a:lnTo>
                  <a:lnTo>
                    <a:pt x="495" y="751"/>
                  </a:lnTo>
                  <a:lnTo>
                    <a:pt x="495" y="751"/>
                  </a:lnTo>
                  <a:close/>
                </a:path>
              </a:pathLst>
            </a:custGeom>
            <a:solidFill>
              <a:srgbClr val="60606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06060"/>
                </a:solidFill>
              </a:endParaRPr>
            </a:p>
          </p:txBody>
        </p:sp>
        <p:sp>
          <p:nvSpPr>
            <p:cNvPr id="24" name="Freeform 28"/>
            <p:cNvSpPr>
              <a:spLocks noEditPoints="1"/>
            </p:cNvSpPr>
            <p:nvPr/>
          </p:nvSpPr>
          <p:spPr bwMode="auto">
            <a:xfrm>
              <a:off x="2203450" y="5346700"/>
              <a:ext cx="785812" cy="758825"/>
            </a:xfrm>
            <a:custGeom>
              <a:avLst/>
              <a:gdLst/>
              <a:ahLst/>
              <a:cxnLst>
                <a:cxn ang="0">
                  <a:pos x="445" y="2"/>
                </a:cxn>
                <a:cxn ang="0">
                  <a:pos x="348" y="19"/>
                </a:cxn>
                <a:cxn ang="0">
                  <a:pos x="259" y="53"/>
                </a:cxn>
                <a:cxn ang="0">
                  <a:pos x="180" y="102"/>
                </a:cxn>
                <a:cxn ang="0">
                  <a:pos x="114" y="164"/>
                </a:cxn>
                <a:cxn ang="0">
                  <a:pos x="60" y="240"/>
                </a:cxn>
                <a:cxn ang="0">
                  <a:pos x="23" y="327"/>
                </a:cxn>
                <a:cxn ang="0">
                  <a:pos x="4" y="425"/>
                </a:cxn>
                <a:cxn ang="0">
                  <a:pos x="2" y="504"/>
                </a:cxn>
                <a:cxn ang="0">
                  <a:pos x="16" y="605"/>
                </a:cxn>
                <a:cxn ang="0">
                  <a:pos x="49" y="694"/>
                </a:cxn>
                <a:cxn ang="0">
                  <a:pos x="98" y="773"/>
                </a:cxn>
                <a:cxn ang="0">
                  <a:pos x="162" y="839"/>
                </a:cxn>
                <a:cxn ang="0">
                  <a:pos x="239" y="892"/>
                </a:cxn>
                <a:cxn ang="0">
                  <a:pos x="326" y="929"/>
                </a:cxn>
                <a:cxn ang="0">
                  <a:pos x="420" y="950"/>
                </a:cxn>
                <a:cxn ang="0">
                  <a:pos x="496" y="955"/>
                </a:cxn>
                <a:cxn ang="0">
                  <a:pos x="597" y="947"/>
                </a:cxn>
                <a:cxn ang="0">
                  <a:pos x="689" y="922"/>
                </a:cxn>
                <a:cxn ang="0">
                  <a:pos x="774" y="880"/>
                </a:cxn>
                <a:cxn ang="0">
                  <a:pos x="847" y="824"/>
                </a:cxn>
                <a:cxn ang="0">
                  <a:pos x="907" y="755"/>
                </a:cxn>
                <a:cxn ang="0">
                  <a:pos x="952" y="673"/>
                </a:cxn>
                <a:cxn ang="0">
                  <a:pos x="981" y="580"/>
                </a:cxn>
                <a:cxn ang="0">
                  <a:pos x="991" y="478"/>
                </a:cxn>
                <a:cxn ang="0">
                  <a:pos x="986" y="399"/>
                </a:cxn>
                <a:cxn ang="0">
                  <a:pos x="961" y="304"/>
                </a:cxn>
                <a:cxn ang="0">
                  <a:pos x="919" y="220"/>
                </a:cxn>
                <a:cxn ang="0">
                  <a:pos x="863" y="148"/>
                </a:cxn>
                <a:cxn ang="0">
                  <a:pos x="793" y="88"/>
                </a:cxn>
                <a:cxn ang="0">
                  <a:pos x="712" y="43"/>
                </a:cxn>
                <a:cxn ang="0">
                  <a:pos x="620" y="13"/>
                </a:cxn>
                <a:cxn ang="0">
                  <a:pos x="522" y="0"/>
                </a:cxn>
                <a:cxn ang="0">
                  <a:pos x="496" y="751"/>
                </a:cxn>
                <a:cxn ang="0">
                  <a:pos x="437" y="745"/>
                </a:cxn>
                <a:cxn ang="0">
                  <a:pos x="384" y="728"/>
                </a:cxn>
                <a:cxn ang="0">
                  <a:pos x="338" y="702"/>
                </a:cxn>
                <a:cxn ang="0">
                  <a:pos x="300" y="668"/>
                </a:cxn>
                <a:cxn ang="0">
                  <a:pos x="269" y="626"/>
                </a:cxn>
                <a:cxn ang="0">
                  <a:pos x="233" y="531"/>
                </a:cxn>
                <a:cxn ang="0">
                  <a:pos x="230" y="451"/>
                </a:cxn>
                <a:cxn ang="0">
                  <a:pos x="257" y="351"/>
                </a:cxn>
                <a:cxn ang="0">
                  <a:pos x="291" y="297"/>
                </a:cxn>
                <a:cxn ang="0">
                  <a:pos x="328" y="262"/>
                </a:cxn>
                <a:cxn ang="0">
                  <a:pos x="371" y="233"/>
                </a:cxn>
                <a:cxn ang="0">
                  <a:pos x="422" y="214"/>
                </a:cxn>
                <a:cxn ang="0">
                  <a:pos x="480" y="205"/>
                </a:cxn>
                <a:cxn ang="0">
                  <a:pos x="526" y="206"/>
                </a:cxn>
                <a:cxn ang="0">
                  <a:pos x="582" y="218"/>
                </a:cxn>
                <a:cxn ang="0">
                  <a:pos x="632" y="239"/>
                </a:cxn>
                <a:cxn ang="0">
                  <a:pos x="674" y="270"/>
                </a:cxn>
                <a:cxn ang="0">
                  <a:pos x="709" y="308"/>
                </a:cxn>
                <a:cxn ang="0">
                  <a:pos x="745" y="375"/>
                </a:cxn>
                <a:cxn ang="0">
                  <a:pos x="764" y="478"/>
                </a:cxn>
                <a:cxn ang="0">
                  <a:pos x="753" y="556"/>
                </a:cxn>
                <a:cxn ang="0">
                  <a:pos x="716" y="637"/>
                </a:cxn>
                <a:cxn ang="0">
                  <a:pos x="683" y="677"/>
                </a:cxn>
                <a:cxn ang="0">
                  <a:pos x="643" y="710"/>
                </a:cxn>
                <a:cxn ang="0">
                  <a:pos x="595" y="733"/>
                </a:cxn>
                <a:cxn ang="0">
                  <a:pos x="542" y="747"/>
                </a:cxn>
                <a:cxn ang="0">
                  <a:pos x="496" y="751"/>
                </a:cxn>
              </a:cxnLst>
              <a:rect l="0" t="0" r="r" b="b"/>
              <a:pathLst>
                <a:path w="991" h="955">
                  <a:moveTo>
                    <a:pt x="496" y="0"/>
                  </a:moveTo>
                  <a:lnTo>
                    <a:pt x="496" y="0"/>
                  </a:lnTo>
                  <a:lnTo>
                    <a:pt x="470" y="0"/>
                  </a:lnTo>
                  <a:lnTo>
                    <a:pt x="445" y="2"/>
                  </a:lnTo>
                  <a:lnTo>
                    <a:pt x="420" y="5"/>
                  </a:lnTo>
                  <a:lnTo>
                    <a:pt x="396" y="8"/>
                  </a:lnTo>
                  <a:lnTo>
                    <a:pt x="371" y="13"/>
                  </a:lnTo>
                  <a:lnTo>
                    <a:pt x="348" y="19"/>
                  </a:lnTo>
                  <a:lnTo>
                    <a:pt x="326" y="26"/>
                  </a:lnTo>
                  <a:lnTo>
                    <a:pt x="302" y="35"/>
                  </a:lnTo>
                  <a:lnTo>
                    <a:pt x="281" y="43"/>
                  </a:lnTo>
                  <a:lnTo>
                    <a:pt x="259" y="53"/>
                  </a:lnTo>
                  <a:lnTo>
                    <a:pt x="239" y="64"/>
                  </a:lnTo>
                  <a:lnTo>
                    <a:pt x="219" y="75"/>
                  </a:lnTo>
                  <a:lnTo>
                    <a:pt x="199" y="88"/>
                  </a:lnTo>
                  <a:lnTo>
                    <a:pt x="180" y="102"/>
                  </a:lnTo>
                  <a:lnTo>
                    <a:pt x="162" y="116"/>
                  </a:lnTo>
                  <a:lnTo>
                    <a:pt x="145" y="131"/>
                  </a:lnTo>
                  <a:lnTo>
                    <a:pt x="129" y="148"/>
                  </a:lnTo>
                  <a:lnTo>
                    <a:pt x="114" y="164"/>
                  </a:lnTo>
                  <a:lnTo>
                    <a:pt x="98" y="182"/>
                  </a:lnTo>
                  <a:lnTo>
                    <a:pt x="85" y="201"/>
                  </a:lnTo>
                  <a:lnTo>
                    <a:pt x="72" y="220"/>
                  </a:lnTo>
                  <a:lnTo>
                    <a:pt x="60" y="240"/>
                  </a:lnTo>
                  <a:lnTo>
                    <a:pt x="49" y="261"/>
                  </a:lnTo>
                  <a:lnTo>
                    <a:pt x="39" y="282"/>
                  </a:lnTo>
                  <a:lnTo>
                    <a:pt x="30" y="304"/>
                  </a:lnTo>
                  <a:lnTo>
                    <a:pt x="23" y="327"/>
                  </a:lnTo>
                  <a:lnTo>
                    <a:pt x="16" y="350"/>
                  </a:lnTo>
                  <a:lnTo>
                    <a:pt x="11" y="375"/>
                  </a:lnTo>
                  <a:lnTo>
                    <a:pt x="7" y="399"/>
                  </a:lnTo>
                  <a:lnTo>
                    <a:pt x="4" y="425"/>
                  </a:lnTo>
                  <a:lnTo>
                    <a:pt x="2" y="451"/>
                  </a:lnTo>
                  <a:lnTo>
                    <a:pt x="0" y="478"/>
                  </a:lnTo>
                  <a:lnTo>
                    <a:pt x="0" y="478"/>
                  </a:lnTo>
                  <a:lnTo>
                    <a:pt x="2" y="504"/>
                  </a:lnTo>
                  <a:lnTo>
                    <a:pt x="4" y="531"/>
                  </a:lnTo>
                  <a:lnTo>
                    <a:pt x="7" y="556"/>
                  </a:lnTo>
                  <a:lnTo>
                    <a:pt x="11" y="580"/>
                  </a:lnTo>
                  <a:lnTo>
                    <a:pt x="16" y="605"/>
                  </a:lnTo>
                  <a:lnTo>
                    <a:pt x="23" y="628"/>
                  </a:lnTo>
                  <a:lnTo>
                    <a:pt x="30" y="651"/>
                  </a:lnTo>
                  <a:lnTo>
                    <a:pt x="39" y="673"/>
                  </a:lnTo>
                  <a:lnTo>
                    <a:pt x="49" y="694"/>
                  </a:lnTo>
                  <a:lnTo>
                    <a:pt x="60" y="716"/>
                  </a:lnTo>
                  <a:lnTo>
                    <a:pt x="72" y="735"/>
                  </a:lnTo>
                  <a:lnTo>
                    <a:pt x="85" y="755"/>
                  </a:lnTo>
                  <a:lnTo>
                    <a:pt x="98" y="773"/>
                  </a:lnTo>
                  <a:lnTo>
                    <a:pt x="114" y="791"/>
                  </a:lnTo>
                  <a:lnTo>
                    <a:pt x="129" y="808"/>
                  </a:lnTo>
                  <a:lnTo>
                    <a:pt x="145" y="824"/>
                  </a:lnTo>
                  <a:lnTo>
                    <a:pt x="162" y="839"/>
                  </a:lnTo>
                  <a:lnTo>
                    <a:pt x="180" y="853"/>
                  </a:lnTo>
                  <a:lnTo>
                    <a:pt x="199" y="868"/>
                  </a:lnTo>
                  <a:lnTo>
                    <a:pt x="219" y="880"/>
                  </a:lnTo>
                  <a:lnTo>
                    <a:pt x="239" y="892"/>
                  </a:lnTo>
                  <a:lnTo>
                    <a:pt x="259" y="902"/>
                  </a:lnTo>
                  <a:lnTo>
                    <a:pt x="281" y="912"/>
                  </a:lnTo>
                  <a:lnTo>
                    <a:pt x="302" y="922"/>
                  </a:lnTo>
                  <a:lnTo>
                    <a:pt x="326" y="929"/>
                  </a:lnTo>
                  <a:lnTo>
                    <a:pt x="348" y="936"/>
                  </a:lnTo>
                  <a:lnTo>
                    <a:pt x="371" y="942"/>
                  </a:lnTo>
                  <a:lnTo>
                    <a:pt x="396" y="947"/>
                  </a:lnTo>
                  <a:lnTo>
                    <a:pt x="420" y="950"/>
                  </a:lnTo>
                  <a:lnTo>
                    <a:pt x="445" y="953"/>
                  </a:lnTo>
                  <a:lnTo>
                    <a:pt x="470" y="955"/>
                  </a:lnTo>
                  <a:lnTo>
                    <a:pt x="496" y="955"/>
                  </a:lnTo>
                  <a:lnTo>
                    <a:pt x="496" y="955"/>
                  </a:lnTo>
                  <a:lnTo>
                    <a:pt x="522" y="955"/>
                  </a:lnTo>
                  <a:lnTo>
                    <a:pt x="547" y="953"/>
                  </a:lnTo>
                  <a:lnTo>
                    <a:pt x="572" y="950"/>
                  </a:lnTo>
                  <a:lnTo>
                    <a:pt x="597" y="947"/>
                  </a:lnTo>
                  <a:lnTo>
                    <a:pt x="620" y="942"/>
                  </a:lnTo>
                  <a:lnTo>
                    <a:pt x="643" y="936"/>
                  </a:lnTo>
                  <a:lnTo>
                    <a:pt x="667" y="929"/>
                  </a:lnTo>
                  <a:lnTo>
                    <a:pt x="689" y="922"/>
                  </a:lnTo>
                  <a:lnTo>
                    <a:pt x="712" y="912"/>
                  </a:lnTo>
                  <a:lnTo>
                    <a:pt x="733" y="902"/>
                  </a:lnTo>
                  <a:lnTo>
                    <a:pt x="753" y="892"/>
                  </a:lnTo>
                  <a:lnTo>
                    <a:pt x="774" y="880"/>
                  </a:lnTo>
                  <a:lnTo>
                    <a:pt x="793" y="868"/>
                  </a:lnTo>
                  <a:lnTo>
                    <a:pt x="811" y="853"/>
                  </a:lnTo>
                  <a:lnTo>
                    <a:pt x="830" y="839"/>
                  </a:lnTo>
                  <a:lnTo>
                    <a:pt x="847" y="824"/>
                  </a:lnTo>
                  <a:lnTo>
                    <a:pt x="863" y="808"/>
                  </a:lnTo>
                  <a:lnTo>
                    <a:pt x="879" y="791"/>
                  </a:lnTo>
                  <a:lnTo>
                    <a:pt x="893" y="773"/>
                  </a:lnTo>
                  <a:lnTo>
                    <a:pt x="907" y="755"/>
                  </a:lnTo>
                  <a:lnTo>
                    <a:pt x="919" y="735"/>
                  </a:lnTo>
                  <a:lnTo>
                    <a:pt x="932" y="716"/>
                  </a:lnTo>
                  <a:lnTo>
                    <a:pt x="943" y="694"/>
                  </a:lnTo>
                  <a:lnTo>
                    <a:pt x="952" y="673"/>
                  </a:lnTo>
                  <a:lnTo>
                    <a:pt x="961" y="651"/>
                  </a:lnTo>
                  <a:lnTo>
                    <a:pt x="969" y="628"/>
                  </a:lnTo>
                  <a:lnTo>
                    <a:pt x="976" y="605"/>
                  </a:lnTo>
                  <a:lnTo>
                    <a:pt x="981" y="580"/>
                  </a:lnTo>
                  <a:lnTo>
                    <a:pt x="986" y="556"/>
                  </a:lnTo>
                  <a:lnTo>
                    <a:pt x="989" y="531"/>
                  </a:lnTo>
                  <a:lnTo>
                    <a:pt x="991" y="504"/>
                  </a:lnTo>
                  <a:lnTo>
                    <a:pt x="991" y="478"/>
                  </a:lnTo>
                  <a:lnTo>
                    <a:pt x="991" y="478"/>
                  </a:lnTo>
                  <a:lnTo>
                    <a:pt x="991" y="451"/>
                  </a:lnTo>
                  <a:lnTo>
                    <a:pt x="989" y="425"/>
                  </a:lnTo>
                  <a:lnTo>
                    <a:pt x="986" y="399"/>
                  </a:lnTo>
                  <a:lnTo>
                    <a:pt x="981" y="375"/>
                  </a:lnTo>
                  <a:lnTo>
                    <a:pt x="976" y="350"/>
                  </a:lnTo>
                  <a:lnTo>
                    <a:pt x="969" y="327"/>
                  </a:lnTo>
                  <a:lnTo>
                    <a:pt x="961" y="304"/>
                  </a:lnTo>
                  <a:lnTo>
                    <a:pt x="952" y="282"/>
                  </a:lnTo>
                  <a:lnTo>
                    <a:pt x="943" y="261"/>
                  </a:lnTo>
                  <a:lnTo>
                    <a:pt x="932" y="240"/>
                  </a:lnTo>
                  <a:lnTo>
                    <a:pt x="919" y="220"/>
                  </a:lnTo>
                  <a:lnTo>
                    <a:pt x="907" y="201"/>
                  </a:lnTo>
                  <a:lnTo>
                    <a:pt x="893" y="182"/>
                  </a:lnTo>
                  <a:lnTo>
                    <a:pt x="879" y="164"/>
                  </a:lnTo>
                  <a:lnTo>
                    <a:pt x="863" y="148"/>
                  </a:lnTo>
                  <a:lnTo>
                    <a:pt x="847" y="131"/>
                  </a:lnTo>
                  <a:lnTo>
                    <a:pt x="830" y="116"/>
                  </a:lnTo>
                  <a:lnTo>
                    <a:pt x="811" y="102"/>
                  </a:lnTo>
                  <a:lnTo>
                    <a:pt x="793" y="88"/>
                  </a:lnTo>
                  <a:lnTo>
                    <a:pt x="774" y="75"/>
                  </a:lnTo>
                  <a:lnTo>
                    <a:pt x="753" y="64"/>
                  </a:lnTo>
                  <a:lnTo>
                    <a:pt x="733" y="53"/>
                  </a:lnTo>
                  <a:lnTo>
                    <a:pt x="712" y="43"/>
                  </a:lnTo>
                  <a:lnTo>
                    <a:pt x="689" y="35"/>
                  </a:lnTo>
                  <a:lnTo>
                    <a:pt x="667" y="26"/>
                  </a:lnTo>
                  <a:lnTo>
                    <a:pt x="643" y="19"/>
                  </a:lnTo>
                  <a:lnTo>
                    <a:pt x="620" y="13"/>
                  </a:lnTo>
                  <a:lnTo>
                    <a:pt x="597" y="8"/>
                  </a:lnTo>
                  <a:lnTo>
                    <a:pt x="572" y="5"/>
                  </a:lnTo>
                  <a:lnTo>
                    <a:pt x="547" y="2"/>
                  </a:lnTo>
                  <a:lnTo>
                    <a:pt x="522" y="0"/>
                  </a:lnTo>
                  <a:lnTo>
                    <a:pt x="496" y="0"/>
                  </a:lnTo>
                  <a:lnTo>
                    <a:pt x="496" y="0"/>
                  </a:lnTo>
                  <a:close/>
                  <a:moveTo>
                    <a:pt x="496" y="751"/>
                  </a:moveTo>
                  <a:lnTo>
                    <a:pt x="496" y="751"/>
                  </a:lnTo>
                  <a:lnTo>
                    <a:pt x="480" y="751"/>
                  </a:lnTo>
                  <a:lnTo>
                    <a:pt x="465" y="749"/>
                  </a:lnTo>
                  <a:lnTo>
                    <a:pt x="451" y="747"/>
                  </a:lnTo>
                  <a:lnTo>
                    <a:pt x="437" y="745"/>
                  </a:lnTo>
                  <a:lnTo>
                    <a:pt x="422" y="741"/>
                  </a:lnTo>
                  <a:lnTo>
                    <a:pt x="409" y="738"/>
                  </a:lnTo>
                  <a:lnTo>
                    <a:pt x="396" y="733"/>
                  </a:lnTo>
                  <a:lnTo>
                    <a:pt x="384" y="728"/>
                  </a:lnTo>
                  <a:lnTo>
                    <a:pt x="371" y="723"/>
                  </a:lnTo>
                  <a:lnTo>
                    <a:pt x="360" y="716"/>
                  </a:lnTo>
                  <a:lnTo>
                    <a:pt x="349" y="710"/>
                  </a:lnTo>
                  <a:lnTo>
                    <a:pt x="338" y="702"/>
                  </a:lnTo>
                  <a:lnTo>
                    <a:pt x="328" y="694"/>
                  </a:lnTo>
                  <a:lnTo>
                    <a:pt x="317" y="685"/>
                  </a:lnTo>
                  <a:lnTo>
                    <a:pt x="308" y="677"/>
                  </a:lnTo>
                  <a:lnTo>
                    <a:pt x="300" y="668"/>
                  </a:lnTo>
                  <a:lnTo>
                    <a:pt x="291" y="658"/>
                  </a:lnTo>
                  <a:lnTo>
                    <a:pt x="284" y="648"/>
                  </a:lnTo>
                  <a:lnTo>
                    <a:pt x="276" y="637"/>
                  </a:lnTo>
                  <a:lnTo>
                    <a:pt x="269" y="626"/>
                  </a:lnTo>
                  <a:lnTo>
                    <a:pt x="257" y="604"/>
                  </a:lnTo>
                  <a:lnTo>
                    <a:pt x="247" y="580"/>
                  </a:lnTo>
                  <a:lnTo>
                    <a:pt x="239" y="556"/>
                  </a:lnTo>
                  <a:lnTo>
                    <a:pt x="233" y="531"/>
                  </a:lnTo>
                  <a:lnTo>
                    <a:pt x="230" y="504"/>
                  </a:lnTo>
                  <a:lnTo>
                    <a:pt x="229" y="478"/>
                  </a:lnTo>
                  <a:lnTo>
                    <a:pt x="229" y="478"/>
                  </a:lnTo>
                  <a:lnTo>
                    <a:pt x="230" y="451"/>
                  </a:lnTo>
                  <a:lnTo>
                    <a:pt x="233" y="425"/>
                  </a:lnTo>
                  <a:lnTo>
                    <a:pt x="239" y="399"/>
                  </a:lnTo>
                  <a:lnTo>
                    <a:pt x="247" y="375"/>
                  </a:lnTo>
                  <a:lnTo>
                    <a:pt x="257" y="351"/>
                  </a:lnTo>
                  <a:lnTo>
                    <a:pt x="269" y="329"/>
                  </a:lnTo>
                  <a:lnTo>
                    <a:pt x="276" y="318"/>
                  </a:lnTo>
                  <a:lnTo>
                    <a:pt x="284" y="308"/>
                  </a:lnTo>
                  <a:lnTo>
                    <a:pt x="291" y="297"/>
                  </a:lnTo>
                  <a:lnTo>
                    <a:pt x="300" y="288"/>
                  </a:lnTo>
                  <a:lnTo>
                    <a:pt x="308" y="279"/>
                  </a:lnTo>
                  <a:lnTo>
                    <a:pt x="317" y="270"/>
                  </a:lnTo>
                  <a:lnTo>
                    <a:pt x="328" y="262"/>
                  </a:lnTo>
                  <a:lnTo>
                    <a:pt x="338" y="254"/>
                  </a:lnTo>
                  <a:lnTo>
                    <a:pt x="349" y="246"/>
                  </a:lnTo>
                  <a:lnTo>
                    <a:pt x="360" y="239"/>
                  </a:lnTo>
                  <a:lnTo>
                    <a:pt x="371" y="233"/>
                  </a:lnTo>
                  <a:lnTo>
                    <a:pt x="384" y="227"/>
                  </a:lnTo>
                  <a:lnTo>
                    <a:pt x="396" y="222"/>
                  </a:lnTo>
                  <a:lnTo>
                    <a:pt x="409" y="218"/>
                  </a:lnTo>
                  <a:lnTo>
                    <a:pt x="422" y="214"/>
                  </a:lnTo>
                  <a:lnTo>
                    <a:pt x="437" y="211"/>
                  </a:lnTo>
                  <a:lnTo>
                    <a:pt x="451" y="208"/>
                  </a:lnTo>
                  <a:lnTo>
                    <a:pt x="465" y="206"/>
                  </a:lnTo>
                  <a:lnTo>
                    <a:pt x="480" y="205"/>
                  </a:lnTo>
                  <a:lnTo>
                    <a:pt x="496" y="205"/>
                  </a:lnTo>
                  <a:lnTo>
                    <a:pt x="496" y="205"/>
                  </a:lnTo>
                  <a:lnTo>
                    <a:pt x="512" y="205"/>
                  </a:lnTo>
                  <a:lnTo>
                    <a:pt x="526" y="206"/>
                  </a:lnTo>
                  <a:lnTo>
                    <a:pt x="542" y="208"/>
                  </a:lnTo>
                  <a:lnTo>
                    <a:pt x="556" y="211"/>
                  </a:lnTo>
                  <a:lnTo>
                    <a:pt x="569" y="214"/>
                  </a:lnTo>
                  <a:lnTo>
                    <a:pt x="582" y="218"/>
                  </a:lnTo>
                  <a:lnTo>
                    <a:pt x="595" y="222"/>
                  </a:lnTo>
                  <a:lnTo>
                    <a:pt x="608" y="227"/>
                  </a:lnTo>
                  <a:lnTo>
                    <a:pt x="620" y="233"/>
                  </a:lnTo>
                  <a:lnTo>
                    <a:pt x="632" y="239"/>
                  </a:lnTo>
                  <a:lnTo>
                    <a:pt x="643" y="246"/>
                  </a:lnTo>
                  <a:lnTo>
                    <a:pt x="654" y="254"/>
                  </a:lnTo>
                  <a:lnTo>
                    <a:pt x="665" y="262"/>
                  </a:lnTo>
                  <a:lnTo>
                    <a:pt x="674" y="270"/>
                  </a:lnTo>
                  <a:lnTo>
                    <a:pt x="683" y="279"/>
                  </a:lnTo>
                  <a:lnTo>
                    <a:pt x="692" y="288"/>
                  </a:lnTo>
                  <a:lnTo>
                    <a:pt x="700" y="297"/>
                  </a:lnTo>
                  <a:lnTo>
                    <a:pt x="709" y="308"/>
                  </a:lnTo>
                  <a:lnTo>
                    <a:pt x="716" y="318"/>
                  </a:lnTo>
                  <a:lnTo>
                    <a:pt x="723" y="329"/>
                  </a:lnTo>
                  <a:lnTo>
                    <a:pt x="735" y="351"/>
                  </a:lnTo>
                  <a:lnTo>
                    <a:pt x="745" y="375"/>
                  </a:lnTo>
                  <a:lnTo>
                    <a:pt x="753" y="399"/>
                  </a:lnTo>
                  <a:lnTo>
                    <a:pt x="759" y="425"/>
                  </a:lnTo>
                  <a:lnTo>
                    <a:pt x="763" y="451"/>
                  </a:lnTo>
                  <a:lnTo>
                    <a:pt x="764" y="478"/>
                  </a:lnTo>
                  <a:lnTo>
                    <a:pt x="764" y="478"/>
                  </a:lnTo>
                  <a:lnTo>
                    <a:pt x="763" y="504"/>
                  </a:lnTo>
                  <a:lnTo>
                    <a:pt x="759" y="531"/>
                  </a:lnTo>
                  <a:lnTo>
                    <a:pt x="753" y="556"/>
                  </a:lnTo>
                  <a:lnTo>
                    <a:pt x="745" y="580"/>
                  </a:lnTo>
                  <a:lnTo>
                    <a:pt x="735" y="604"/>
                  </a:lnTo>
                  <a:lnTo>
                    <a:pt x="723" y="626"/>
                  </a:lnTo>
                  <a:lnTo>
                    <a:pt x="716" y="637"/>
                  </a:lnTo>
                  <a:lnTo>
                    <a:pt x="709" y="648"/>
                  </a:lnTo>
                  <a:lnTo>
                    <a:pt x="700" y="658"/>
                  </a:lnTo>
                  <a:lnTo>
                    <a:pt x="692" y="668"/>
                  </a:lnTo>
                  <a:lnTo>
                    <a:pt x="683" y="677"/>
                  </a:lnTo>
                  <a:lnTo>
                    <a:pt x="674" y="685"/>
                  </a:lnTo>
                  <a:lnTo>
                    <a:pt x="665" y="694"/>
                  </a:lnTo>
                  <a:lnTo>
                    <a:pt x="654" y="702"/>
                  </a:lnTo>
                  <a:lnTo>
                    <a:pt x="643" y="710"/>
                  </a:lnTo>
                  <a:lnTo>
                    <a:pt x="632" y="716"/>
                  </a:lnTo>
                  <a:lnTo>
                    <a:pt x="620" y="723"/>
                  </a:lnTo>
                  <a:lnTo>
                    <a:pt x="608" y="728"/>
                  </a:lnTo>
                  <a:lnTo>
                    <a:pt x="595" y="733"/>
                  </a:lnTo>
                  <a:lnTo>
                    <a:pt x="582" y="738"/>
                  </a:lnTo>
                  <a:lnTo>
                    <a:pt x="569" y="741"/>
                  </a:lnTo>
                  <a:lnTo>
                    <a:pt x="556" y="745"/>
                  </a:lnTo>
                  <a:lnTo>
                    <a:pt x="542" y="747"/>
                  </a:lnTo>
                  <a:lnTo>
                    <a:pt x="526" y="749"/>
                  </a:lnTo>
                  <a:lnTo>
                    <a:pt x="512" y="751"/>
                  </a:lnTo>
                  <a:lnTo>
                    <a:pt x="496" y="751"/>
                  </a:lnTo>
                  <a:lnTo>
                    <a:pt x="496" y="751"/>
                  </a:lnTo>
                  <a:close/>
                </a:path>
              </a:pathLst>
            </a:custGeom>
            <a:solidFill>
              <a:srgbClr val="60606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06060"/>
                </a:solidFill>
              </a:endParaRPr>
            </a:p>
          </p:txBody>
        </p:sp>
        <p:sp>
          <p:nvSpPr>
            <p:cNvPr id="25" name="Freeform 29"/>
            <p:cNvSpPr>
              <a:spLocks/>
            </p:cNvSpPr>
            <p:nvPr/>
          </p:nvSpPr>
          <p:spPr bwMode="auto">
            <a:xfrm>
              <a:off x="3100388" y="5346700"/>
              <a:ext cx="1120775" cy="739775"/>
            </a:xfrm>
            <a:custGeom>
              <a:avLst/>
              <a:gdLst/>
              <a:ahLst/>
              <a:cxnLst>
                <a:cxn ang="0">
                  <a:pos x="216" y="165"/>
                </a:cxn>
                <a:cxn ang="0">
                  <a:pos x="229" y="149"/>
                </a:cxn>
                <a:cxn ang="0">
                  <a:pos x="259" y="103"/>
                </a:cxn>
                <a:cxn ang="0">
                  <a:pos x="301" y="62"/>
                </a:cxn>
                <a:cxn ang="0">
                  <a:pos x="355" y="30"/>
                </a:cxn>
                <a:cxn ang="0">
                  <a:pos x="420" y="8"/>
                </a:cxn>
                <a:cxn ang="0">
                  <a:pos x="500" y="0"/>
                </a:cxn>
                <a:cxn ang="0">
                  <a:pos x="550" y="2"/>
                </a:cxn>
                <a:cxn ang="0">
                  <a:pos x="618" y="16"/>
                </a:cxn>
                <a:cxn ang="0">
                  <a:pos x="677" y="42"/>
                </a:cxn>
                <a:cxn ang="0">
                  <a:pos x="725" y="79"/>
                </a:cxn>
                <a:cxn ang="0">
                  <a:pos x="764" y="128"/>
                </a:cxn>
                <a:cxn ang="0">
                  <a:pos x="784" y="169"/>
                </a:cxn>
                <a:cxn ang="0">
                  <a:pos x="825" y="110"/>
                </a:cxn>
                <a:cxn ang="0">
                  <a:pos x="872" y="64"/>
                </a:cxn>
                <a:cxn ang="0">
                  <a:pos x="927" y="31"/>
                </a:cxn>
                <a:cxn ang="0">
                  <a:pos x="989" y="10"/>
                </a:cxn>
                <a:cxn ang="0">
                  <a:pos x="1059" y="0"/>
                </a:cxn>
                <a:cxn ang="0">
                  <a:pos x="1106" y="0"/>
                </a:cxn>
                <a:cxn ang="0">
                  <a:pos x="1168" y="7"/>
                </a:cxn>
                <a:cxn ang="0">
                  <a:pos x="1221" y="23"/>
                </a:cxn>
                <a:cxn ang="0">
                  <a:pos x="1268" y="47"/>
                </a:cxn>
                <a:cxn ang="0">
                  <a:pos x="1307" y="76"/>
                </a:cxn>
                <a:cxn ang="0">
                  <a:pos x="1339" y="113"/>
                </a:cxn>
                <a:cxn ang="0">
                  <a:pos x="1365" y="156"/>
                </a:cxn>
                <a:cxn ang="0">
                  <a:pos x="1385" y="203"/>
                </a:cxn>
                <a:cxn ang="0">
                  <a:pos x="1399" y="256"/>
                </a:cxn>
                <a:cxn ang="0">
                  <a:pos x="1408" y="311"/>
                </a:cxn>
                <a:cxn ang="0">
                  <a:pos x="1413" y="933"/>
                </a:cxn>
                <a:cxn ang="0">
                  <a:pos x="1184" y="417"/>
                </a:cxn>
                <a:cxn ang="0">
                  <a:pos x="1180" y="355"/>
                </a:cxn>
                <a:cxn ang="0">
                  <a:pos x="1167" y="299"/>
                </a:cxn>
                <a:cxn ang="0">
                  <a:pos x="1140" y="255"/>
                </a:cxn>
                <a:cxn ang="0">
                  <a:pos x="1107" y="226"/>
                </a:cxn>
                <a:cxn ang="0">
                  <a:pos x="1081" y="215"/>
                </a:cxn>
                <a:cxn ang="0">
                  <a:pos x="1051" y="207"/>
                </a:cxn>
                <a:cxn ang="0">
                  <a:pos x="1015" y="205"/>
                </a:cxn>
                <a:cxn ang="0">
                  <a:pos x="977" y="208"/>
                </a:cxn>
                <a:cxn ang="0">
                  <a:pos x="945" y="216"/>
                </a:cxn>
                <a:cxn ang="0">
                  <a:pos x="915" y="230"/>
                </a:cxn>
                <a:cxn ang="0">
                  <a:pos x="891" y="248"/>
                </a:cxn>
                <a:cxn ang="0">
                  <a:pos x="853" y="295"/>
                </a:cxn>
                <a:cxn ang="0">
                  <a:pos x="831" y="353"/>
                </a:cxn>
                <a:cxn ang="0">
                  <a:pos x="821" y="417"/>
                </a:cxn>
                <a:cxn ang="0">
                  <a:pos x="592" y="933"/>
                </a:cxn>
                <a:cxn ang="0">
                  <a:pos x="591" y="370"/>
                </a:cxn>
                <a:cxn ang="0">
                  <a:pos x="583" y="315"/>
                </a:cxn>
                <a:cxn ang="0">
                  <a:pos x="565" y="269"/>
                </a:cxn>
                <a:cxn ang="0">
                  <a:pos x="534" y="234"/>
                </a:cxn>
                <a:cxn ang="0">
                  <a:pos x="491" y="212"/>
                </a:cxn>
                <a:cxn ang="0">
                  <a:pos x="436" y="205"/>
                </a:cxn>
                <a:cxn ang="0">
                  <a:pos x="410" y="206"/>
                </a:cxn>
                <a:cxn ang="0">
                  <a:pos x="373" y="212"/>
                </a:cxn>
                <a:cxn ang="0">
                  <a:pos x="341" y="224"/>
                </a:cxn>
                <a:cxn ang="0">
                  <a:pos x="313" y="239"/>
                </a:cxn>
                <a:cxn ang="0">
                  <a:pos x="290" y="260"/>
                </a:cxn>
                <a:cxn ang="0">
                  <a:pos x="254" y="310"/>
                </a:cxn>
                <a:cxn ang="0">
                  <a:pos x="235" y="370"/>
                </a:cxn>
                <a:cxn ang="0">
                  <a:pos x="228" y="436"/>
                </a:cxn>
                <a:cxn ang="0">
                  <a:pos x="0" y="22"/>
                </a:cxn>
              </a:cxnLst>
              <a:rect l="0" t="0" r="r" b="b"/>
              <a:pathLst>
                <a:path w="1413" h="933">
                  <a:moveTo>
                    <a:pt x="0" y="22"/>
                  </a:moveTo>
                  <a:lnTo>
                    <a:pt x="216" y="22"/>
                  </a:lnTo>
                  <a:lnTo>
                    <a:pt x="216" y="165"/>
                  </a:lnTo>
                  <a:lnTo>
                    <a:pt x="220" y="165"/>
                  </a:lnTo>
                  <a:lnTo>
                    <a:pt x="220" y="165"/>
                  </a:lnTo>
                  <a:lnTo>
                    <a:pt x="229" y="149"/>
                  </a:lnTo>
                  <a:lnTo>
                    <a:pt x="238" y="133"/>
                  </a:lnTo>
                  <a:lnTo>
                    <a:pt x="248" y="118"/>
                  </a:lnTo>
                  <a:lnTo>
                    <a:pt x="259" y="103"/>
                  </a:lnTo>
                  <a:lnTo>
                    <a:pt x="272" y="89"/>
                  </a:lnTo>
                  <a:lnTo>
                    <a:pt x="286" y="75"/>
                  </a:lnTo>
                  <a:lnTo>
                    <a:pt x="301" y="62"/>
                  </a:lnTo>
                  <a:lnTo>
                    <a:pt x="318" y="50"/>
                  </a:lnTo>
                  <a:lnTo>
                    <a:pt x="336" y="40"/>
                  </a:lnTo>
                  <a:lnTo>
                    <a:pt x="355" y="30"/>
                  </a:lnTo>
                  <a:lnTo>
                    <a:pt x="375" y="20"/>
                  </a:lnTo>
                  <a:lnTo>
                    <a:pt x="398" y="13"/>
                  </a:lnTo>
                  <a:lnTo>
                    <a:pt x="420" y="8"/>
                  </a:lnTo>
                  <a:lnTo>
                    <a:pt x="446" y="3"/>
                  </a:lnTo>
                  <a:lnTo>
                    <a:pt x="472" y="1"/>
                  </a:lnTo>
                  <a:lnTo>
                    <a:pt x="500" y="0"/>
                  </a:lnTo>
                  <a:lnTo>
                    <a:pt x="500" y="0"/>
                  </a:lnTo>
                  <a:lnTo>
                    <a:pt x="525" y="0"/>
                  </a:lnTo>
                  <a:lnTo>
                    <a:pt x="550" y="2"/>
                  </a:lnTo>
                  <a:lnTo>
                    <a:pt x="574" y="5"/>
                  </a:lnTo>
                  <a:lnTo>
                    <a:pt x="596" y="10"/>
                  </a:lnTo>
                  <a:lnTo>
                    <a:pt x="618" y="16"/>
                  </a:lnTo>
                  <a:lnTo>
                    <a:pt x="638" y="23"/>
                  </a:lnTo>
                  <a:lnTo>
                    <a:pt x="659" y="32"/>
                  </a:lnTo>
                  <a:lnTo>
                    <a:pt x="677" y="42"/>
                  </a:lnTo>
                  <a:lnTo>
                    <a:pt x="694" y="53"/>
                  </a:lnTo>
                  <a:lnTo>
                    <a:pt x="711" y="65"/>
                  </a:lnTo>
                  <a:lnTo>
                    <a:pt x="725" y="79"/>
                  </a:lnTo>
                  <a:lnTo>
                    <a:pt x="739" y="95"/>
                  </a:lnTo>
                  <a:lnTo>
                    <a:pt x="752" y="111"/>
                  </a:lnTo>
                  <a:lnTo>
                    <a:pt x="764" y="128"/>
                  </a:lnTo>
                  <a:lnTo>
                    <a:pt x="775" y="148"/>
                  </a:lnTo>
                  <a:lnTo>
                    <a:pt x="784" y="169"/>
                  </a:lnTo>
                  <a:lnTo>
                    <a:pt x="784" y="169"/>
                  </a:lnTo>
                  <a:lnTo>
                    <a:pt x="797" y="148"/>
                  </a:lnTo>
                  <a:lnTo>
                    <a:pt x="810" y="128"/>
                  </a:lnTo>
                  <a:lnTo>
                    <a:pt x="825" y="110"/>
                  </a:lnTo>
                  <a:lnTo>
                    <a:pt x="840" y="94"/>
                  </a:lnTo>
                  <a:lnTo>
                    <a:pt x="855" y="78"/>
                  </a:lnTo>
                  <a:lnTo>
                    <a:pt x="872" y="64"/>
                  </a:lnTo>
                  <a:lnTo>
                    <a:pt x="890" y="52"/>
                  </a:lnTo>
                  <a:lnTo>
                    <a:pt x="907" y="41"/>
                  </a:lnTo>
                  <a:lnTo>
                    <a:pt x="927" y="31"/>
                  </a:lnTo>
                  <a:lnTo>
                    <a:pt x="946" y="22"/>
                  </a:lnTo>
                  <a:lnTo>
                    <a:pt x="967" y="15"/>
                  </a:lnTo>
                  <a:lnTo>
                    <a:pt x="989" y="10"/>
                  </a:lnTo>
                  <a:lnTo>
                    <a:pt x="1011" y="5"/>
                  </a:lnTo>
                  <a:lnTo>
                    <a:pt x="1035" y="2"/>
                  </a:lnTo>
                  <a:lnTo>
                    <a:pt x="1059" y="0"/>
                  </a:lnTo>
                  <a:lnTo>
                    <a:pt x="1083" y="0"/>
                  </a:lnTo>
                  <a:lnTo>
                    <a:pt x="1083" y="0"/>
                  </a:lnTo>
                  <a:lnTo>
                    <a:pt x="1106" y="0"/>
                  </a:lnTo>
                  <a:lnTo>
                    <a:pt x="1127" y="2"/>
                  </a:lnTo>
                  <a:lnTo>
                    <a:pt x="1148" y="4"/>
                  </a:lnTo>
                  <a:lnTo>
                    <a:pt x="1168" y="7"/>
                  </a:lnTo>
                  <a:lnTo>
                    <a:pt x="1186" y="12"/>
                  </a:lnTo>
                  <a:lnTo>
                    <a:pt x="1205" y="17"/>
                  </a:lnTo>
                  <a:lnTo>
                    <a:pt x="1221" y="23"/>
                  </a:lnTo>
                  <a:lnTo>
                    <a:pt x="1237" y="31"/>
                  </a:lnTo>
                  <a:lnTo>
                    <a:pt x="1253" y="38"/>
                  </a:lnTo>
                  <a:lnTo>
                    <a:pt x="1268" y="47"/>
                  </a:lnTo>
                  <a:lnTo>
                    <a:pt x="1281" y="56"/>
                  </a:lnTo>
                  <a:lnTo>
                    <a:pt x="1294" y="66"/>
                  </a:lnTo>
                  <a:lnTo>
                    <a:pt x="1307" y="76"/>
                  </a:lnTo>
                  <a:lnTo>
                    <a:pt x="1318" y="89"/>
                  </a:lnTo>
                  <a:lnTo>
                    <a:pt x="1329" y="101"/>
                  </a:lnTo>
                  <a:lnTo>
                    <a:pt x="1339" y="113"/>
                  </a:lnTo>
                  <a:lnTo>
                    <a:pt x="1348" y="127"/>
                  </a:lnTo>
                  <a:lnTo>
                    <a:pt x="1357" y="141"/>
                  </a:lnTo>
                  <a:lnTo>
                    <a:pt x="1365" y="156"/>
                  </a:lnTo>
                  <a:lnTo>
                    <a:pt x="1373" y="171"/>
                  </a:lnTo>
                  <a:lnTo>
                    <a:pt x="1379" y="186"/>
                  </a:lnTo>
                  <a:lnTo>
                    <a:pt x="1385" y="203"/>
                  </a:lnTo>
                  <a:lnTo>
                    <a:pt x="1390" y="220"/>
                  </a:lnTo>
                  <a:lnTo>
                    <a:pt x="1395" y="237"/>
                  </a:lnTo>
                  <a:lnTo>
                    <a:pt x="1399" y="256"/>
                  </a:lnTo>
                  <a:lnTo>
                    <a:pt x="1402" y="273"/>
                  </a:lnTo>
                  <a:lnTo>
                    <a:pt x="1405" y="292"/>
                  </a:lnTo>
                  <a:lnTo>
                    <a:pt x="1408" y="311"/>
                  </a:lnTo>
                  <a:lnTo>
                    <a:pt x="1411" y="350"/>
                  </a:lnTo>
                  <a:lnTo>
                    <a:pt x="1413" y="390"/>
                  </a:lnTo>
                  <a:lnTo>
                    <a:pt x="1413" y="933"/>
                  </a:lnTo>
                  <a:lnTo>
                    <a:pt x="1184" y="933"/>
                  </a:lnTo>
                  <a:lnTo>
                    <a:pt x="1184" y="417"/>
                  </a:lnTo>
                  <a:lnTo>
                    <a:pt x="1184" y="417"/>
                  </a:lnTo>
                  <a:lnTo>
                    <a:pt x="1184" y="396"/>
                  </a:lnTo>
                  <a:lnTo>
                    <a:pt x="1182" y="376"/>
                  </a:lnTo>
                  <a:lnTo>
                    <a:pt x="1180" y="355"/>
                  </a:lnTo>
                  <a:lnTo>
                    <a:pt x="1177" y="336"/>
                  </a:lnTo>
                  <a:lnTo>
                    <a:pt x="1172" y="318"/>
                  </a:lnTo>
                  <a:lnTo>
                    <a:pt x="1167" y="299"/>
                  </a:lnTo>
                  <a:lnTo>
                    <a:pt x="1159" y="283"/>
                  </a:lnTo>
                  <a:lnTo>
                    <a:pt x="1151" y="268"/>
                  </a:lnTo>
                  <a:lnTo>
                    <a:pt x="1140" y="255"/>
                  </a:lnTo>
                  <a:lnTo>
                    <a:pt x="1128" y="241"/>
                  </a:lnTo>
                  <a:lnTo>
                    <a:pt x="1114" y="231"/>
                  </a:lnTo>
                  <a:lnTo>
                    <a:pt x="1107" y="226"/>
                  </a:lnTo>
                  <a:lnTo>
                    <a:pt x="1099" y="222"/>
                  </a:lnTo>
                  <a:lnTo>
                    <a:pt x="1091" y="218"/>
                  </a:lnTo>
                  <a:lnTo>
                    <a:pt x="1081" y="215"/>
                  </a:lnTo>
                  <a:lnTo>
                    <a:pt x="1071" y="212"/>
                  </a:lnTo>
                  <a:lnTo>
                    <a:pt x="1061" y="209"/>
                  </a:lnTo>
                  <a:lnTo>
                    <a:pt x="1051" y="207"/>
                  </a:lnTo>
                  <a:lnTo>
                    <a:pt x="1040" y="206"/>
                  </a:lnTo>
                  <a:lnTo>
                    <a:pt x="1015" y="205"/>
                  </a:lnTo>
                  <a:lnTo>
                    <a:pt x="1015" y="205"/>
                  </a:lnTo>
                  <a:lnTo>
                    <a:pt x="1003" y="205"/>
                  </a:lnTo>
                  <a:lnTo>
                    <a:pt x="990" y="206"/>
                  </a:lnTo>
                  <a:lnTo>
                    <a:pt x="977" y="208"/>
                  </a:lnTo>
                  <a:lnTo>
                    <a:pt x="966" y="210"/>
                  </a:lnTo>
                  <a:lnTo>
                    <a:pt x="955" y="213"/>
                  </a:lnTo>
                  <a:lnTo>
                    <a:pt x="945" y="216"/>
                  </a:lnTo>
                  <a:lnTo>
                    <a:pt x="935" y="220"/>
                  </a:lnTo>
                  <a:lnTo>
                    <a:pt x="924" y="225"/>
                  </a:lnTo>
                  <a:lnTo>
                    <a:pt x="915" y="230"/>
                  </a:lnTo>
                  <a:lnTo>
                    <a:pt x="907" y="235"/>
                  </a:lnTo>
                  <a:lnTo>
                    <a:pt x="899" y="241"/>
                  </a:lnTo>
                  <a:lnTo>
                    <a:pt x="891" y="248"/>
                  </a:lnTo>
                  <a:lnTo>
                    <a:pt x="877" y="263"/>
                  </a:lnTo>
                  <a:lnTo>
                    <a:pt x="864" y="278"/>
                  </a:lnTo>
                  <a:lnTo>
                    <a:pt x="853" y="295"/>
                  </a:lnTo>
                  <a:lnTo>
                    <a:pt x="844" y="314"/>
                  </a:lnTo>
                  <a:lnTo>
                    <a:pt x="837" y="333"/>
                  </a:lnTo>
                  <a:lnTo>
                    <a:pt x="831" y="353"/>
                  </a:lnTo>
                  <a:lnTo>
                    <a:pt x="826" y="375"/>
                  </a:lnTo>
                  <a:lnTo>
                    <a:pt x="823" y="396"/>
                  </a:lnTo>
                  <a:lnTo>
                    <a:pt x="821" y="417"/>
                  </a:lnTo>
                  <a:lnTo>
                    <a:pt x="820" y="440"/>
                  </a:lnTo>
                  <a:lnTo>
                    <a:pt x="820" y="933"/>
                  </a:lnTo>
                  <a:lnTo>
                    <a:pt x="592" y="933"/>
                  </a:lnTo>
                  <a:lnTo>
                    <a:pt x="592" y="390"/>
                  </a:lnTo>
                  <a:lnTo>
                    <a:pt x="592" y="390"/>
                  </a:lnTo>
                  <a:lnTo>
                    <a:pt x="591" y="370"/>
                  </a:lnTo>
                  <a:lnTo>
                    <a:pt x="590" y="350"/>
                  </a:lnTo>
                  <a:lnTo>
                    <a:pt x="587" y="332"/>
                  </a:lnTo>
                  <a:lnTo>
                    <a:pt x="583" y="315"/>
                  </a:lnTo>
                  <a:lnTo>
                    <a:pt x="578" y="297"/>
                  </a:lnTo>
                  <a:lnTo>
                    <a:pt x="572" y="282"/>
                  </a:lnTo>
                  <a:lnTo>
                    <a:pt x="565" y="269"/>
                  </a:lnTo>
                  <a:lnTo>
                    <a:pt x="556" y="256"/>
                  </a:lnTo>
                  <a:lnTo>
                    <a:pt x="545" y="244"/>
                  </a:lnTo>
                  <a:lnTo>
                    <a:pt x="534" y="234"/>
                  </a:lnTo>
                  <a:lnTo>
                    <a:pt x="522" y="225"/>
                  </a:lnTo>
                  <a:lnTo>
                    <a:pt x="508" y="218"/>
                  </a:lnTo>
                  <a:lnTo>
                    <a:pt x="491" y="212"/>
                  </a:lnTo>
                  <a:lnTo>
                    <a:pt x="475" y="208"/>
                  </a:lnTo>
                  <a:lnTo>
                    <a:pt x="457" y="206"/>
                  </a:lnTo>
                  <a:lnTo>
                    <a:pt x="436" y="205"/>
                  </a:lnTo>
                  <a:lnTo>
                    <a:pt x="436" y="205"/>
                  </a:lnTo>
                  <a:lnTo>
                    <a:pt x="423" y="205"/>
                  </a:lnTo>
                  <a:lnTo>
                    <a:pt x="410" y="206"/>
                  </a:lnTo>
                  <a:lnTo>
                    <a:pt x="397" y="208"/>
                  </a:lnTo>
                  <a:lnTo>
                    <a:pt x="384" y="210"/>
                  </a:lnTo>
                  <a:lnTo>
                    <a:pt x="373" y="212"/>
                  </a:lnTo>
                  <a:lnTo>
                    <a:pt x="362" y="216"/>
                  </a:lnTo>
                  <a:lnTo>
                    <a:pt x="351" y="219"/>
                  </a:lnTo>
                  <a:lnTo>
                    <a:pt x="341" y="224"/>
                  </a:lnTo>
                  <a:lnTo>
                    <a:pt x="332" y="228"/>
                  </a:lnTo>
                  <a:lnTo>
                    <a:pt x="322" y="234"/>
                  </a:lnTo>
                  <a:lnTo>
                    <a:pt x="313" y="239"/>
                  </a:lnTo>
                  <a:lnTo>
                    <a:pt x="305" y="245"/>
                  </a:lnTo>
                  <a:lnTo>
                    <a:pt x="297" y="253"/>
                  </a:lnTo>
                  <a:lnTo>
                    <a:pt x="290" y="260"/>
                  </a:lnTo>
                  <a:lnTo>
                    <a:pt x="277" y="275"/>
                  </a:lnTo>
                  <a:lnTo>
                    <a:pt x="264" y="291"/>
                  </a:lnTo>
                  <a:lnTo>
                    <a:pt x="254" y="310"/>
                  </a:lnTo>
                  <a:lnTo>
                    <a:pt x="246" y="329"/>
                  </a:lnTo>
                  <a:lnTo>
                    <a:pt x="240" y="348"/>
                  </a:lnTo>
                  <a:lnTo>
                    <a:pt x="235" y="370"/>
                  </a:lnTo>
                  <a:lnTo>
                    <a:pt x="231" y="391"/>
                  </a:lnTo>
                  <a:lnTo>
                    <a:pt x="229" y="413"/>
                  </a:lnTo>
                  <a:lnTo>
                    <a:pt x="228" y="436"/>
                  </a:lnTo>
                  <a:lnTo>
                    <a:pt x="228" y="933"/>
                  </a:lnTo>
                  <a:lnTo>
                    <a:pt x="0" y="933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60606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06060"/>
                </a:solidFill>
              </a:endParaRPr>
            </a:p>
          </p:txBody>
        </p:sp>
        <p:sp>
          <p:nvSpPr>
            <p:cNvPr id="26" name="Freeform 30"/>
            <p:cNvSpPr>
              <a:spLocks noEditPoints="1"/>
            </p:cNvSpPr>
            <p:nvPr/>
          </p:nvSpPr>
          <p:spPr bwMode="auto">
            <a:xfrm>
              <a:off x="4367213" y="4995863"/>
              <a:ext cx="779462" cy="1109662"/>
            </a:xfrm>
            <a:custGeom>
              <a:avLst/>
              <a:gdLst/>
              <a:ahLst/>
              <a:cxnLst>
                <a:cxn ang="0">
                  <a:pos x="482" y="445"/>
                </a:cxn>
                <a:cxn ang="0">
                  <a:pos x="382" y="470"/>
                </a:cxn>
                <a:cxn ang="0">
                  <a:pos x="307" y="510"/>
                </a:cxn>
                <a:cxn ang="0">
                  <a:pos x="253" y="557"/>
                </a:cxn>
                <a:cxn ang="0">
                  <a:pos x="227" y="0"/>
                </a:cxn>
                <a:cxn ang="0">
                  <a:pos x="216" y="1238"/>
                </a:cxn>
                <a:cxn ang="0">
                  <a:pos x="248" y="1277"/>
                </a:cxn>
                <a:cxn ang="0">
                  <a:pos x="315" y="1337"/>
                </a:cxn>
                <a:cxn ang="0">
                  <a:pos x="395" y="1377"/>
                </a:cxn>
                <a:cxn ang="0">
                  <a:pos x="486" y="1395"/>
                </a:cxn>
                <a:cxn ang="0">
                  <a:pos x="559" y="1397"/>
                </a:cxn>
                <a:cxn ang="0">
                  <a:pos x="656" y="1383"/>
                </a:cxn>
                <a:cxn ang="0">
                  <a:pos x="742" y="1351"/>
                </a:cxn>
                <a:cxn ang="0">
                  <a:pos x="816" y="1305"/>
                </a:cxn>
                <a:cxn ang="0">
                  <a:pos x="877" y="1243"/>
                </a:cxn>
                <a:cxn ang="0">
                  <a:pos x="925" y="1170"/>
                </a:cxn>
                <a:cxn ang="0">
                  <a:pos x="959" y="1087"/>
                </a:cxn>
                <a:cxn ang="0">
                  <a:pos x="978" y="994"/>
                </a:cxn>
                <a:cxn ang="0">
                  <a:pos x="982" y="920"/>
                </a:cxn>
                <a:cxn ang="0">
                  <a:pos x="974" y="822"/>
                </a:cxn>
                <a:cxn ang="0">
                  <a:pos x="951" y="731"/>
                </a:cxn>
                <a:cxn ang="0">
                  <a:pos x="912" y="650"/>
                </a:cxn>
                <a:cxn ang="0">
                  <a:pos x="860" y="579"/>
                </a:cxn>
                <a:cxn ang="0">
                  <a:pos x="796" y="522"/>
                </a:cxn>
                <a:cxn ang="0">
                  <a:pos x="720" y="479"/>
                </a:cxn>
                <a:cxn ang="0">
                  <a:pos x="636" y="451"/>
                </a:cxn>
                <a:cxn ang="0">
                  <a:pos x="542" y="442"/>
                </a:cxn>
                <a:cxn ang="0">
                  <a:pos x="472" y="1193"/>
                </a:cxn>
                <a:cxn ang="0">
                  <a:pos x="414" y="1183"/>
                </a:cxn>
                <a:cxn ang="0">
                  <a:pos x="363" y="1165"/>
                </a:cxn>
                <a:cxn ang="0">
                  <a:pos x="319" y="1136"/>
                </a:cxn>
                <a:cxn ang="0">
                  <a:pos x="282" y="1100"/>
                </a:cxn>
                <a:cxn ang="0">
                  <a:pos x="249" y="1046"/>
                </a:cxn>
                <a:cxn ang="0">
                  <a:pos x="221" y="946"/>
                </a:cxn>
                <a:cxn ang="0">
                  <a:pos x="224" y="867"/>
                </a:cxn>
                <a:cxn ang="0">
                  <a:pos x="261" y="771"/>
                </a:cxn>
                <a:cxn ang="0">
                  <a:pos x="291" y="730"/>
                </a:cxn>
                <a:cxn ang="0">
                  <a:pos x="329" y="696"/>
                </a:cxn>
                <a:cxn ang="0">
                  <a:pos x="375" y="669"/>
                </a:cxn>
                <a:cxn ang="0">
                  <a:pos x="428" y="653"/>
                </a:cxn>
                <a:cxn ang="0">
                  <a:pos x="487" y="647"/>
                </a:cxn>
                <a:cxn ang="0">
                  <a:pos x="533" y="650"/>
                </a:cxn>
                <a:cxn ang="0">
                  <a:pos x="587" y="664"/>
                </a:cxn>
                <a:cxn ang="0">
                  <a:pos x="635" y="688"/>
                </a:cxn>
                <a:cxn ang="0">
                  <a:pos x="674" y="721"/>
                </a:cxn>
                <a:cxn ang="0">
                  <a:pos x="707" y="760"/>
                </a:cxn>
                <a:cxn ang="0">
                  <a:pos x="745" y="841"/>
                </a:cxn>
                <a:cxn ang="0">
                  <a:pos x="755" y="920"/>
                </a:cxn>
                <a:cxn ang="0">
                  <a:pos x="737" y="1022"/>
                </a:cxn>
                <a:cxn ang="0">
                  <a:pos x="700" y="1090"/>
                </a:cxn>
                <a:cxn ang="0">
                  <a:pos x="665" y="1127"/>
                </a:cxn>
                <a:cxn ang="0">
                  <a:pos x="623" y="1158"/>
                </a:cxn>
                <a:cxn ang="0">
                  <a:pos x="574" y="1180"/>
                </a:cxn>
                <a:cxn ang="0">
                  <a:pos x="518" y="1191"/>
                </a:cxn>
              </a:cxnLst>
              <a:rect l="0" t="0" r="r" b="b"/>
              <a:pathLst>
                <a:path w="982" h="1398">
                  <a:moveTo>
                    <a:pt x="542" y="442"/>
                  </a:moveTo>
                  <a:lnTo>
                    <a:pt x="542" y="442"/>
                  </a:lnTo>
                  <a:lnTo>
                    <a:pt x="511" y="443"/>
                  </a:lnTo>
                  <a:lnTo>
                    <a:pt x="482" y="445"/>
                  </a:lnTo>
                  <a:lnTo>
                    <a:pt x="454" y="449"/>
                  </a:lnTo>
                  <a:lnTo>
                    <a:pt x="429" y="455"/>
                  </a:lnTo>
                  <a:lnTo>
                    <a:pt x="404" y="462"/>
                  </a:lnTo>
                  <a:lnTo>
                    <a:pt x="382" y="470"/>
                  </a:lnTo>
                  <a:lnTo>
                    <a:pt x="361" y="479"/>
                  </a:lnTo>
                  <a:lnTo>
                    <a:pt x="341" y="489"/>
                  </a:lnTo>
                  <a:lnTo>
                    <a:pt x="324" y="499"/>
                  </a:lnTo>
                  <a:lnTo>
                    <a:pt x="307" y="510"/>
                  </a:lnTo>
                  <a:lnTo>
                    <a:pt x="291" y="522"/>
                  </a:lnTo>
                  <a:lnTo>
                    <a:pt x="277" y="534"/>
                  </a:lnTo>
                  <a:lnTo>
                    <a:pt x="265" y="546"/>
                  </a:lnTo>
                  <a:lnTo>
                    <a:pt x="253" y="557"/>
                  </a:lnTo>
                  <a:lnTo>
                    <a:pt x="242" y="569"/>
                  </a:lnTo>
                  <a:lnTo>
                    <a:pt x="233" y="580"/>
                  </a:lnTo>
                  <a:lnTo>
                    <a:pt x="227" y="580"/>
                  </a:lnTo>
                  <a:lnTo>
                    <a:pt x="227" y="0"/>
                  </a:lnTo>
                  <a:lnTo>
                    <a:pt x="0" y="0"/>
                  </a:lnTo>
                  <a:lnTo>
                    <a:pt x="0" y="1375"/>
                  </a:lnTo>
                  <a:lnTo>
                    <a:pt x="216" y="1375"/>
                  </a:lnTo>
                  <a:lnTo>
                    <a:pt x="216" y="1238"/>
                  </a:lnTo>
                  <a:lnTo>
                    <a:pt x="220" y="1238"/>
                  </a:lnTo>
                  <a:lnTo>
                    <a:pt x="220" y="1238"/>
                  </a:lnTo>
                  <a:lnTo>
                    <a:pt x="233" y="1258"/>
                  </a:lnTo>
                  <a:lnTo>
                    <a:pt x="248" y="1277"/>
                  </a:lnTo>
                  <a:lnTo>
                    <a:pt x="263" y="1294"/>
                  </a:lnTo>
                  <a:lnTo>
                    <a:pt x="279" y="1310"/>
                  </a:lnTo>
                  <a:lnTo>
                    <a:pt x="296" y="1324"/>
                  </a:lnTo>
                  <a:lnTo>
                    <a:pt x="315" y="1337"/>
                  </a:lnTo>
                  <a:lnTo>
                    <a:pt x="334" y="1349"/>
                  </a:lnTo>
                  <a:lnTo>
                    <a:pt x="353" y="1360"/>
                  </a:lnTo>
                  <a:lnTo>
                    <a:pt x="374" y="1369"/>
                  </a:lnTo>
                  <a:lnTo>
                    <a:pt x="395" y="1377"/>
                  </a:lnTo>
                  <a:lnTo>
                    <a:pt x="418" y="1383"/>
                  </a:lnTo>
                  <a:lnTo>
                    <a:pt x="440" y="1388"/>
                  </a:lnTo>
                  <a:lnTo>
                    <a:pt x="462" y="1392"/>
                  </a:lnTo>
                  <a:lnTo>
                    <a:pt x="486" y="1395"/>
                  </a:lnTo>
                  <a:lnTo>
                    <a:pt x="509" y="1397"/>
                  </a:lnTo>
                  <a:lnTo>
                    <a:pt x="533" y="1398"/>
                  </a:lnTo>
                  <a:lnTo>
                    <a:pt x="533" y="1398"/>
                  </a:lnTo>
                  <a:lnTo>
                    <a:pt x="559" y="1397"/>
                  </a:lnTo>
                  <a:lnTo>
                    <a:pt x="585" y="1395"/>
                  </a:lnTo>
                  <a:lnTo>
                    <a:pt x="609" y="1392"/>
                  </a:lnTo>
                  <a:lnTo>
                    <a:pt x="633" y="1388"/>
                  </a:lnTo>
                  <a:lnTo>
                    <a:pt x="656" y="1383"/>
                  </a:lnTo>
                  <a:lnTo>
                    <a:pt x="678" y="1377"/>
                  </a:lnTo>
                  <a:lnTo>
                    <a:pt x="701" y="1370"/>
                  </a:lnTo>
                  <a:lnTo>
                    <a:pt x="721" y="1361"/>
                  </a:lnTo>
                  <a:lnTo>
                    <a:pt x="742" y="1351"/>
                  </a:lnTo>
                  <a:lnTo>
                    <a:pt x="762" y="1341"/>
                  </a:lnTo>
                  <a:lnTo>
                    <a:pt x="780" y="1330"/>
                  </a:lnTo>
                  <a:lnTo>
                    <a:pt x="799" y="1318"/>
                  </a:lnTo>
                  <a:lnTo>
                    <a:pt x="816" y="1305"/>
                  </a:lnTo>
                  <a:lnTo>
                    <a:pt x="832" y="1290"/>
                  </a:lnTo>
                  <a:lnTo>
                    <a:pt x="849" y="1275"/>
                  </a:lnTo>
                  <a:lnTo>
                    <a:pt x="863" y="1260"/>
                  </a:lnTo>
                  <a:lnTo>
                    <a:pt x="877" y="1243"/>
                  </a:lnTo>
                  <a:lnTo>
                    <a:pt x="890" y="1226"/>
                  </a:lnTo>
                  <a:lnTo>
                    <a:pt x="903" y="1208"/>
                  </a:lnTo>
                  <a:lnTo>
                    <a:pt x="914" y="1189"/>
                  </a:lnTo>
                  <a:lnTo>
                    <a:pt x="925" y="1170"/>
                  </a:lnTo>
                  <a:lnTo>
                    <a:pt x="935" y="1150"/>
                  </a:lnTo>
                  <a:lnTo>
                    <a:pt x="943" y="1129"/>
                  </a:lnTo>
                  <a:lnTo>
                    <a:pt x="952" y="1108"/>
                  </a:lnTo>
                  <a:lnTo>
                    <a:pt x="959" y="1087"/>
                  </a:lnTo>
                  <a:lnTo>
                    <a:pt x="965" y="1064"/>
                  </a:lnTo>
                  <a:lnTo>
                    <a:pt x="970" y="1041"/>
                  </a:lnTo>
                  <a:lnTo>
                    <a:pt x="975" y="1017"/>
                  </a:lnTo>
                  <a:lnTo>
                    <a:pt x="978" y="994"/>
                  </a:lnTo>
                  <a:lnTo>
                    <a:pt x="980" y="969"/>
                  </a:lnTo>
                  <a:lnTo>
                    <a:pt x="982" y="945"/>
                  </a:lnTo>
                  <a:lnTo>
                    <a:pt x="982" y="920"/>
                  </a:lnTo>
                  <a:lnTo>
                    <a:pt x="982" y="920"/>
                  </a:lnTo>
                  <a:lnTo>
                    <a:pt x="982" y="894"/>
                  </a:lnTo>
                  <a:lnTo>
                    <a:pt x="980" y="870"/>
                  </a:lnTo>
                  <a:lnTo>
                    <a:pt x="978" y="845"/>
                  </a:lnTo>
                  <a:lnTo>
                    <a:pt x="974" y="822"/>
                  </a:lnTo>
                  <a:lnTo>
                    <a:pt x="970" y="798"/>
                  </a:lnTo>
                  <a:lnTo>
                    <a:pt x="964" y="776"/>
                  </a:lnTo>
                  <a:lnTo>
                    <a:pt x="958" y="754"/>
                  </a:lnTo>
                  <a:lnTo>
                    <a:pt x="951" y="731"/>
                  </a:lnTo>
                  <a:lnTo>
                    <a:pt x="942" y="710"/>
                  </a:lnTo>
                  <a:lnTo>
                    <a:pt x="933" y="689"/>
                  </a:lnTo>
                  <a:lnTo>
                    <a:pt x="923" y="669"/>
                  </a:lnTo>
                  <a:lnTo>
                    <a:pt x="912" y="650"/>
                  </a:lnTo>
                  <a:lnTo>
                    <a:pt x="900" y="631"/>
                  </a:lnTo>
                  <a:lnTo>
                    <a:pt x="887" y="613"/>
                  </a:lnTo>
                  <a:lnTo>
                    <a:pt x="874" y="596"/>
                  </a:lnTo>
                  <a:lnTo>
                    <a:pt x="860" y="579"/>
                  </a:lnTo>
                  <a:lnTo>
                    <a:pt x="845" y="564"/>
                  </a:lnTo>
                  <a:lnTo>
                    <a:pt x="829" y="549"/>
                  </a:lnTo>
                  <a:lnTo>
                    <a:pt x="813" y="535"/>
                  </a:lnTo>
                  <a:lnTo>
                    <a:pt x="796" y="522"/>
                  </a:lnTo>
                  <a:lnTo>
                    <a:pt x="778" y="509"/>
                  </a:lnTo>
                  <a:lnTo>
                    <a:pt x="760" y="498"/>
                  </a:lnTo>
                  <a:lnTo>
                    <a:pt x="741" y="488"/>
                  </a:lnTo>
                  <a:lnTo>
                    <a:pt x="720" y="479"/>
                  </a:lnTo>
                  <a:lnTo>
                    <a:pt x="701" y="470"/>
                  </a:lnTo>
                  <a:lnTo>
                    <a:pt x="679" y="462"/>
                  </a:lnTo>
                  <a:lnTo>
                    <a:pt x="658" y="456"/>
                  </a:lnTo>
                  <a:lnTo>
                    <a:pt x="636" y="451"/>
                  </a:lnTo>
                  <a:lnTo>
                    <a:pt x="613" y="447"/>
                  </a:lnTo>
                  <a:lnTo>
                    <a:pt x="590" y="444"/>
                  </a:lnTo>
                  <a:lnTo>
                    <a:pt x="566" y="442"/>
                  </a:lnTo>
                  <a:lnTo>
                    <a:pt x="542" y="442"/>
                  </a:lnTo>
                  <a:lnTo>
                    <a:pt x="542" y="442"/>
                  </a:lnTo>
                  <a:close/>
                  <a:moveTo>
                    <a:pt x="487" y="1193"/>
                  </a:moveTo>
                  <a:lnTo>
                    <a:pt x="487" y="1193"/>
                  </a:lnTo>
                  <a:lnTo>
                    <a:pt x="472" y="1193"/>
                  </a:lnTo>
                  <a:lnTo>
                    <a:pt x="456" y="1191"/>
                  </a:lnTo>
                  <a:lnTo>
                    <a:pt x="442" y="1189"/>
                  </a:lnTo>
                  <a:lnTo>
                    <a:pt x="428" y="1187"/>
                  </a:lnTo>
                  <a:lnTo>
                    <a:pt x="414" y="1183"/>
                  </a:lnTo>
                  <a:lnTo>
                    <a:pt x="400" y="1180"/>
                  </a:lnTo>
                  <a:lnTo>
                    <a:pt x="387" y="1175"/>
                  </a:lnTo>
                  <a:lnTo>
                    <a:pt x="375" y="1170"/>
                  </a:lnTo>
                  <a:lnTo>
                    <a:pt x="363" y="1165"/>
                  </a:lnTo>
                  <a:lnTo>
                    <a:pt x="351" y="1158"/>
                  </a:lnTo>
                  <a:lnTo>
                    <a:pt x="340" y="1152"/>
                  </a:lnTo>
                  <a:lnTo>
                    <a:pt x="329" y="1144"/>
                  </a:lnTo>
                  <a:lnTo>
                    <a:pt x="319" y="1136"/>
                  </a:lnTo>
                  <a:lnTo>
                    <a:pt x="309" y="1127"/>
                  </a:lnTo>
                  <a:lnTo>
                    <a:pt x="299" y="1119"/>
                  </a:lnTo>
                  <a:lnTo>
                    <a:pt x="291" y="1110"/>
                  </a:lnTo>
                  <a:lnTo>
                    <a:pt x="282" y="1100"/>
                  </a:lnTo>
                  <a:lnTo>
                    <a:pt x="275" y="1090"/>
                  </a:lnTo>
                  <a:lnTo>
                    <a:pt x="267" y="1079"/>
                  </a:lnTo>
                  <a:lnTo>
                    <a:pt x="261" y="1068"/>
                  </a:lnTo>
                  <a:lnTo>
                    <a:pt x="249" y="1046"/>
                  </a:lnTo>
                  <a:lnTo>
                    <a:pt x="238" y="1022"/>
                  </a:lnTo>
                  <a:lnTo>
                    <a:pt x="230" y="998"/>
                  </a:lnTo>
                  <a:lnTo>
                    <a:pt x="224" y="973"/>
                  </a:lnTo>
                  <a:lnTo>
                    <a:pt x="221" y="946"/>
                  </a:lnTo>
                  <a:lnTo>
                    <a:pt x="220" y="920"/>
                  </a:lnTo>
                  <a:lnTo>
                    <a:pt x="220" y="920"/>
                  </a:lnTo>
                  <a:lnTo>
                    <a:pt x="221" y="893"/>
                  </a:lnTo>
                  <a:lnTo>
                    <a:pt x="224" y="867"/>
                  </a:lnTo>
                  <a:lnTo>
                    <a:pt x="230" y="841"/>
                  </a:lnTo>
                  <a:lnTo>
                    <a:pt x="238" y="817"/>
                  </a:lnTo>
                  <a:lnTo>
                    <a:pt x="249" y="793"/>
                  </a:lnTo>
                  <a:lnTo>
                    <a:pt x="261" y="771"/>
                  </a:lnTo>
                  <a:lnTo>
                    <a:pt x="267" y="760"/>
                  </a:lnTo>
                  <a:lnTo>
                    <a:pt x="275" y="750"/>
                  </a:lnTo>
                  <a:lnTo>
                    <a:pt x="282" y="739"/>
                  </a:lnTo>
                  <a:lnTo>
                    <a:pt x="291" y="730"/>
                  </a:lnTo>
                  <a:lnTo>
                    <a:pt x="299" y="721"/>
                  </a:lnTo>
                  <a:lnTo>
                    <a:pt x="309" y="712"/>
                  </a:lnTo>
                  <a:lnTo>
                    <a:pt x="319" y="704"/>
                  </a:lnTo>
                  <a:lnTo>
                    <a:pt x="329" y="696"/>
                  </a:lnTo>
                  <a:lnTo>
                    <a:pt x="340" y="688"/>
                  </a:lnTo>
                  <a:lnTo>
                    <a:pt x="351" y="681"/>
                  </a:lnTo>
                  <a:lnTo>
                    <a:pt x="363" y="675"/>
                  </a:lnTo>
                  <a:lnTo>
                    <a:pt x="375" y="669"/>
                  </a:lnTo>
                  <a:lnTo>
                    <a:pt x="387" y="664"/>
                  </a:lnTo>
                  <a:lnTo>
                    <a:pt x="400" y="660"/>
                  </a:lnTo>
                  <a:lnTo>
                    <a:pt x="414" y="656"/>
                  </a:lnTo>
                  <a:lnTo>
                    <a:pt x="428" y="653"/>
                  </a:lnTo>
                  <a:lnTo>
                    <a:pt x="442" y="650"/>
                  </a:lnTo>
                  <a:lnTo>
                    <a:pt x="456" y="648"/>
                  </a:lnTo>
                  <a:lnTo>
                    <a:pt x="472" y="647"/>
                  </a:lnTo>
                  <a:lnTo>
                    <a:pt x="487" y="647"/>
                  </a:lnTo>
                  <a:lnTo>
                    <a:pt x="487" y="647"/>
                  </a:lnTo>
                  <a:lnTo>
                    <a:pt x="502" y="647"/>
                  </a:lnTo>
                  <a:lnTo>
                    <a:pt x="518" y="648"/>
                  </a:lnTo>
                  <a:lnTo>
                    <a:pt x="533" y="650"/>
                  </a:lnTo>
                  <a:lnTo>
                    <a:pt x="547" y="653"/>
                  </a:lnTo>
                  <a:lnTo>
                    <a:pt x="560" y="656"/>
                  </a:lnTo>
                  <a:lnTo>
                    <a:pt x="574" y="660"/>
                  </a:lnTo>
                  <a:lnTo>
                    <a:pt x="587" y="664"/>
                  </a:lnTo>
                  <a:lnTo>
                    <a:pt x="600" y="669"/>
                  </a:lnTo>
                  <a:lnTo>
                    <a:pt x="611" y="675"/>
                  </a:lnTo>
                  <a:lnTo>
                    <a:pt x="623" y="681"/>
                  </a:lnTo>
                  <a:lnTo>
                    <a:pt x="635" y="688"/>
                  </a:lnTo>
                  <a:lnTo>
                    <a:pt x="645" y="696"/>
                  </a:lnTo>
                  <a:lnTo>
                    <a:pt x="656" y="704"/>
                  </a:lnTo>
                  <a:lnTo>
                    <a:pt x="665" y="712"/>
                  </a:lnTo>
                  <a:lnTo>
                    <a:pt x="674" y="721"/>
                  </a:lnTo>
                  <a:lnTo>
                    <a:pt x="684" y="730"/>
                  </a:lnTo>
                  <a:lnTo>
                    <a:pt x="692" y="739"/>
                  </a:lnTo>
                  <a:lnTo>
                    <a:pt x="700" y="750"/>
                  </a:lnTo>
                  <a:lnTo>
                    <a:pt x="707" y="760"/>
                  </a:lnTo>
                  <a:lnTo>
                    <a:pt x="714" y="771"/>
                  </a:lnTo>
                  <a:lnTo>
                    <a:pt x="726" y="793"/>
                  </a:lnTo>
                  <a:lnTo>
                    <a:pt x="737" y="817"/>
                  </a:lnTo>
                  <a:lnTo>
                    <a:pt x="745" y="841"/>
                  </a:lnTo>
                  <a:lnTo>
                    <a:pt x="750" y="867"/>
                  </a:lnTo>
                  <a:lnTo>
                    <a:pt x="754" y="893"/>
                  </a:lnTo>
                  <a:lnTo>
                    <a:pt x="755" y="920"/>
                  </a:lnTo>
                  <a:lnTo>
                    <a:pt x="755" y="920"/>
                  </a:lnTo>
                  <a:lnTo>
                    <a:pt x="754" y="946"/>
                  </a:lnTo>
                  <a:lnTo>
                    <a:pt x="750" y="973"/>
                  </a:lnTo>
                  <a:lnTo>
                    <a:pt x="745" y="998"/>
                  </a:lnTo>
                  <a:lnTo>
                    <a:pt x="737" y="1022"/>
                  </a:lnTo>
                  <a:lnTo>
                    <a:pt x="726" y="1046"/>
                  </a:lnTo>
                  <a:lnTo>
                    <a:pt x="714" y="1068"/>
                  </a:lnTo>
                  <a:lnTo>
                    <a:pt x="707" y="1079"/>
                  </a:lnTo>
                  <a:lnTo>
                    <a:pt x="700" y="1090"/>
                  </a:lnTo>
                  <a:lnTo>
                    <a:pt x="692" y="1100"/>
                  </a:lnTo>
                  <a:lnTo>
                    <a:pt x="684" y="1110"/>
                  </a:lnTo>
                  <a:lnTo>
                    <a:pt x="674" y="1119"/>
                  </a:lnTo>
                  <a:lnTo>
                    <a:pt x="665" y="1127"/>
                  </a:lnTo>
                  <a:lnTo>
                    <a:pt x="656" y="1136"/>
                  </a:lnTo>
                  <a:lnTo>
                    <a:pt x="645" y="1144"/>
                  </a:lnTo>
                  <a:lnTo>
                    <a:pt x="635" y="1152"/>
                  </a:lnTo>
                  <a:lnTo>
                    <a:pt x="623" y="1158"/>
                  </a:lnTo>
                  <a:lnTo>
                    <a:pt x="611" y="1165"/>
                  </a:lnTo>
                  <a:lnTo>
                    <a:pt x="600" y="1170"/>
                  </a:lnTo>
                  <a:lnTo>
                    <a:pt x="587" y="1175"/>
                  </a:lnTo>
                  <a:lnTo>
                    <a:pt x="574" y="1180"/>
                  </a:lnTo>
                  <a:lnTo>
                    <a:pt x="560" y="1183"/>
                  </a:lnTo>
                  <a:lnTo>
                    <a:pt x="547" y="1187"/>
                  </a:lnTo>
                  <a:lnTo>
                    <a:pt x="533" y="1189"/>
                  </a:lnTo>
                  <a:lnTo>
                    <a:pt x="518" y="1191"/>
                  </a:lnTo>
                  <a:lnTo>
                    <a:pt x="502" y="1193"/>
                  </a:lnTo>
                  <a:lnTo>
                    <a:pt x="487" y="1193"/>
                  </a:lnTo>
                  <a:lnTo>
                    <a:pt x="487" y="1193"/>
                  </a:lnTo>
                  <a:close/>
                </a:path>
              </a:pathLst>
            </a:custGeom>
            <a:solidFill>
              <a:srgbClr val="60606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06060"/>
                </a:solidFill>
              </a:endParaRPr>
            </a:p>
          </p:txBody>
        </p:sp>
        <p:sp>
          <p:nvSpPr>
            <p:cNvPr id="27" name="Freeform 31"/>
            <p:cNvSpPr>
              <a:spLocks noEditPoints="1"/>
            </p:cNvSpPr>
            <p:nvPr/>
          </p:nvSpPr>
          <p:spPr bwMode="auto">
            <a:xfrm>
              <a:off x="5229225" y="5346700"/>
              <a:ext cx="731837" cy="758825"/>
            </a:xfrm>
            <a:custGeom>
              <a:avLst/>
              <a:gdLst/>
              <a:ahLst/>
              <a:cxnLst>
                <a:cxn ang="0">
                  <a:pos x="231" y="363"/>
                </a:cxn>
                <a:cxn ang="0">
                  <a:pos x="253" y="297"/>
                </a:cxn>
                <a:cxn ang="0">
                  <a:pos x="286" y="244"/>
                </a:cxn>
                <a:cxn ang="0">
                  <a:pos x="333" y="205"/>
                </a:cxn>
                <a:cxn ang="0">
                  <a:pos x="392" y="179"/>
                </a:cxn>
                <a:cxn ang="0">
                  <a:pos x="463" y="170"/>
                </a:cxn>
                <a:cxn ang="0">
                  <a:pos x="514" y="174"/>
                </a:cxn>
                <a:cxn ang="0">
                  <a:pos x="579" y="193"/>
                </a:cxn>
                <a:cxn ang="0">
                  <a:pos x="631" y="229"/>
                </a:cxn>
                <a:cxn ang="0">
                  <a:pos x="668" y="278"/>
                </a:cxn>
                <a:cxn ang="0">
                  <a:pos x="690" y="339"/>
                </a:cxn>
                <a:cxn ang="0">
                  <a:pos x="227" y="387"/>
                </a:cxn>
                <a:cxn ang="0">
                  <a:pos x="922" y="495"/>
                </a:cxn>
                <a:cxn ang="0">
                  <a:pos x="917" y="409"/>
                </a:cxn>
                <a:cxn ang="0">
                  <a:pos x="904" y="332"/>
                </a:cxn>
                <a:cxn ang="0">
                  <a:pos x="882" y="262"/>
                </a:cxn>
                <a:cxn ang="0">
                  <a:pos x="854" y="200"/>
                </a:cxn>
                <a:cxn ang="0">
                  <a:pos x="817" y="145"/>
                </a:cxn>
                <a:cxn ang="0">
                  <a:pos x="774" y="99"/>
                </a:cxn>
                <a:cxn ang="0">
                  <a:pos x="724" y="61"/>
                </a:cxn>
                <a:cxn ang="0">
                  <a:pos x="668" y="33"/>
                </a:cxn>
                <a:cxn ang="0">
                  <a:pos x="607" y="12"/>
                </a:cxn>
                <a:cxn ang="0">
                  <a:pos x="541" y="2"/>
                </a:cxn>
                <a:cxn ang="0">
                  <a:pos x="495" y="0"/>
                </a:cxn>
                <a:cxn ang="0">
                  <a:pos x="419" y="5"/>
                </a:cxn>
                <a:cxn ang="0">
                  <a:pos x="346" y="19"/>
                </a:cxn>
                <a:cxn ang="0">
                  <a:pos x="279" y="43"/>
                </a:cxn>
                <a:cxn ang="0">
                  <a:pos x="217" y="75"/>
                </a:cxn>
                <a:cxn ang="0">
                  <a:pos x="161" y="116"/>
                </a:cxn>
                <a:cxn ang="0">
                  <a:pos x="112" y="164"/>
                </a:cxn>
                <a:cxn ang="0">
                  <a:pos x="71" y="220"/>
                </a:cxn>
                <a:cxn ang="0">
                  <a:pos x="39" y="282"/>
                </a:cxn>
                <a:cxn ang="0">
                  <a:pos x="15" y="350"/>
                </a:cxn>
                <a:cxn ang="0">
                  <a:pos x="2" y="425"/>
                </a:cxn>
                <a:cxn ang="0">
                  <a:pos x="0" y="478"/>
                </a:cxn>
                <a:cxn ang="0">
                  <a:pos x="5" y="556"/>
                </a:cxn>
                <a:cxn ang="0">
                  <a:pos x="21" y="628"/>
                </a:cxn>
                <a:cxn ang="0">
                  <a:pos x="48" y="694"/>
                </a:cxn>
                <a:cxn ang="0">
                  <a:pos x="84" y="755"/>
                </a:cxn>
                <a:cxn ang="0">
                  <a:pos x="127" y="809"/>
                </a:cxn>
                <a:cxn ang="0">
                  <a:pos x="179" y="853"/>
                </a:cxn>
                <a:cxn ang="0">
                  <a:pos x="237" y="892"/>
                </a:cxn>
                <a:cxn ang="0">
                  <a:pos x="302" y="922"/>
                </a:cxn>
                <a:cxn ang="0">
                  <a:pos x="371" y="942"/>
                </a:cxn>
                <a:cxn ang="0">
                  <a:pos x="444" y="953"/>
                </a:cxn>
                <a:cxn ang="0">
                  <a:pos x="495" y="956"/>
                </a:cxn>
                <a:cxn ang="0">
                  <a:pos x="575" y="950"/>
                </a:cxn>
                <a:cxn ang="0">
                  <a:pos x="652" y="933"/>
                </a:cxn>
                <a:cxn ang="0">
                  <a:pos x="725" y="902"/>
                </a:cxn>
                <a:cxn ang="0">
                  <a:pos x="796" y="857"/>
                </a:cxn>
                <a:cxn ang="0">
                  <a:pos x="860" y="797"/>
                </a:cxn>
                <a:cxn ang="0">
                  <a:pos x="717" y="651"/>
                </a:cxn>
                <a:cxn ang="0">
                  <a:pos x="683" y="687"/>
                </a:cxn>
                <a:cxn ang="0">
                  <a:pos x="645" y="720"/>
                </a:cxn>
                <a:cxn ang="0">
                  <a:pos x="600" y="746"/>
                </a:cxn>
                <a:cxn ang="0">
                  <a:pos x="550" y="765"/>
                </a:cxn>
                <a:cxn ang="0">
                  <a:pos x="493" y="773"/>
                </a:cxn>
                <a:cxn ang="0">
                  <a:pos x="448" y="773"/>
                </a:cxn>
                <a:cxn ang="0">
                  <a:pos x="382" y="759"/>
                </a:cxn>
                <a:cxn ang="0">
                  <a:pos x="325" y="729"/>
                </a:cxn>
                <a:cxn ang="0">
                  <a:pos x="278" y="685"/>
                </a:cxn>
                <a:cxn ang="0">
                  <a:pos x="245" y="627"/>
                </a:cxn>
                <a:cxn ang="0">
                  <a:pos x="227" y="557"/>
                </a:cxn>
              </a:cxnLst>
              <a:rect l="0" t="0" r="r" b="b"/>
              <a:pathLst>
                <a:path w="922" h="956">
                  <a:moveTo>
                    <a:pt x="227" y="387"/>
                  </a:moveTo>
                  <a:lnTo>
                    <a:pt x="227" y="387"/>
                  </a:lnTo>
                  <a:lnTo>
                    <a:pt x="231" y="363"/>
                  </a:lnTo>
                  <a:lnTo>
                    <a:pt x="236" y="340"/>
                  </a:lnTo>
                  <a:lnTo>
                    <a:pt x="244" y="318"/>
                  </a:lnTo>
                  <a:lnTo>
                    <a:pt x="253" y="297"/>
                  </a:lnTo>
                  <a:lnTo>
                    <a:pt x="262" y="278"/>
                  </a:lnTo>
                  <a:lnTo>
                    <a:pt x="274" y="261"/>
                  </a:lnTo>
                  <a:lnTo>
                    <a:pt x="286" y="244"/>
                  </a:lnTo>
                  <a:lnTo>
                    <a:pt x="301" y="229"/>
                  </a:lnTo>
                  <a:lnTo>
                    <a:pt x="317" y="216"/>
                  </a:lnTo>
                  <a:lnTo>
                    <a:pt x="333" y="205"/>
                  </a:lnTo>
                  <a:lnTo>
                    <a:pt x="352" y="194"/>
                  </a:lnTo>
                  <a:lnTo>
                    <a:pt x="372" y="185"/>
                  </a:lnTo>
                  <a:lnTo>
                    <a:pt x="392" y="179"/>
                  </a:lnTo>
                  <a:lnTo>
                    <a:pt x="415" y="174"/>
                  </a:lnTo>
                  <a:lnTo>
                    <a:pt x="438" y="171"/>
                  </a:lnTo>
                  <a:lnTo>
                    <a:pt x="463" y="170"/>
                  </a:lnTo>
                  <a:lnTo>
                    <a:pt x="463" y="170"/>
                  </a:lnTo>
                  <a:lnTo>
                    <a:pt x="489" y="171"/>
                  </a:lnTo>
                  <a:lnTo>
                    <a:pt x="514" y="174"/>
                  </a:lnTo>
                  <a:lnTo>
                    <a:pt x="537" y="179"/>
                  </a:lnTo>
                  <a:lnTo>
                    <a:pt x="558" y="185"/>
                  </a:lnTo>
                  <a:lnTo>
                    <a:pt x="579" y="193"/>
                  </a:lnTo>
                  <a:lnTo>
                    <a:pt x="598" y="204"/>
                  </a:lnTo>
                  <a:lnTo>
                    <a:pt x="615" y="216"/>
                  </a:lnTo>
                  <a:lnTo>
                    <a:pt x="631" y="229"/>
                  </a:lnTo>
                  <a:lnTo>
                    <a:pt x="645" y="243"/>
                  </a:lnTo>
                  <a:lnTo>
                    <a:pt x="657" y="260"/>
                  </a:lnTo>
                  <a:lnTo>
                    <a:pt x="668" y="278"/>
                  </a:lnTo>
                  <a:lnTo>
                    <a:pt x="678" y="297"/>
                  </a:lnTo>
                  <a:lnTo>
                    <a:pt x="685" y="318"/>
                  </a:lnTo>
                  <a:lnTo>
                    <a:pt x="690" y="339"/>
                  </a:lnTo>
                  <a:lnTo>
                    <a:pt x="693" y="363"/>
                  </a:lnTo>
                  <a:lnTo>
                    <a:pt x="694" y="387"/>
                  </a:lnTo>
                  <a:lnTo>
                    <a:pt x="227" y="387"/>
                  </a:lnTo>
                  <a:close/>
                  <a:moveTo>
                    <a:pt x="922" y="557"/>
                  </a:moveTo>
                  <a:lnTo>
                    <a:pt x="922" y="495"/>
                  </a:lnTo>
                  <a:lnTo>
                    <a:pt x="922" y="495"/>
                  </a:lnTo>
                  <a:lnTo>
                    <a:pt x="921" y="465"/>
                  </a:lnTo>
                  <a:lnTo>
                    <a:pt x="920" y="437"/>
                  </a:lnTo>
                  <a:lnTo>
                    <a:pt x="917" y="409"/>
                  </a:lnTo>
                  <a:lnTo>
                    <a:pt x="914" y="383"/>
                  </a:lnTo>
                  <a:lnTo>
                    <a:pt x="910" y="356"/>
                  </a:lnTo>
                  <a:lnTo>
                    <a:pt x="904" y="332"/>
                  </a:lnTo>
                  <a:lnTo>
                    <a:pt x="898" y="308"/>
                  </a:lnTo>
                  <a:lnTo>
                    <a:pt x="890" y="284"/>
                  </a:lnTo>
                  <a:lnTo>
                    <a:pt x="882" y="262"/>
                  </a:lnTo>
                  <a:lnTo>
                    <a:pt x="874" y="239"/>
                  </a:lnTo>
                  <a:lnTo>
                    <a:pt x="864" y="219"/>
                  </a:lnTo>
                  <a:lnTo>
                    <a:pt x="854" y="200"/>
                  </a:lnTo>
                  <a:lnTo>
                    <a:pt x="843" y="180"/>
                  </a:lnTo>
                  <a:lnTo>
                    <a:pt x="830" y="162"/>
                  </a:lnTo>
                  <a:lnTo>
                    <a:pt x="817" y="145"/>
                  </a:lnTo>
                  <a:lnTo>
                    <a:pt x="804" y="128"/>
                  </a:lnTo>
                  <a:lnTo>
                    <a:pt x="790" y="113"/>
                  </a:lnTo>
                  <a:lnTo>
                    <a:pt x="774" y="99"/>
                  </a:lnTo>
                  <a:lnTo>
                    <a:pt x="758" y="86"/>
                  </a:lnTo>
                  <a:lnTo>
                    <a:pt x="742" y="73"/>
                  </a:lnTo>
                  <a:lnTo>
                    <a:pt x="724" y="61"/>
                  </a:lnTo>
                  <a:lnTo>
                    <a:pt x="706" y="51"/>
                  </a:lnTo>
                  <a:lnTo>
                    <a:pt x="688" y="41"/>
                  </a:lnTo>
                  <a:lnTo>
                    <a:pt x="668" y="33"/>
                  </a:lnTo>
                  <a:lnTo>
                    <a:pt x="649" y="25"/>
                  </a:lnTo>
                  <a:lnTo>
                    <a:pt x="629" y="18"/>
                  </a:lnTo>
                  <a:lnTo>
                    <a:pt x="607" y="12"/>
                  </a:lnTo>
                  <a:lnTo>
                    <a:pt x="586" y="8"/>
                  </a:lnTo>
                  <a:lnTo>
                    <a:pt x="564" y="4"/>
                  </a:lnTo>
                  <a:lnTo>
                    <a:pt x="541" y="2"/>
                  </a:lnTo>
                  <a:lnTo>
                    <a:pt x="519" y="0"/>
                  </a:lnTo>
                  <a:lnTo>
                    <a:pt x="495" y="0"/>
                  </a:lnTo>
                  <a:lnTo>
                    <a:pt x="495" y="0"/>
                  </a:lnTo>
                  <a:lnTo>
                    <a:pt x="469" y="0"/>
                  </a:lnTo>
                  <a:lnTo>
                    <a:pt x="444" y="2"/>
                  </a:lnTo>
                  <a:lnTo>
                    <a:pt x="419" y="5"/>
                  </a:lnTo>
                  <a:lnTo>
                    <a:pt x="394" y="8"/>
                  </a:lnTo>
                  <a:lnTo>
                    <a:pt x="371" y="13"/>
                  </a:lnTo>
                  <a:lnTo>
                    <a:pt x="346" y="19"/>
                  </a:lnTo>
                  <a:lnTo>
                    <a:pt x="324" y="26"/>
                  </a:lnTo>
                  <a:lnTo>
                    <a:pt x="302" y="35"/>
                  </a:lnTo>
                  <a:lnTo>
                    <a:pt x="279" y="43"/>
                  </a:lnTo>
                  <a:lnTo>
                    <a:pt x="258" y="53"/>
                  </a:lnTo>
                  <a:lnTo>
                    <a:pt x="237" y="64"/>
                  </a:lnTo>
                  <a:lnTo>
                    <a:pt x="217" y="75"/>
                  </a:lnTo>
                  <a:lnTo>
                    <a:pt x="198" y="88"/>
                  </a:lnTo>
                  <a:lnTo>
                    <a:pt x="179" y="102"/>
                  </a:lnTo>
                  <a:lnTo>
                    <a:pt x="161" y="116"/>
                  </a:lnTo>
                  <a:lnTo>
                    <a:pt x="144" y="131"/>
                  </a:lnTo>
                  <a:lnTo>
                    <a:pt x="127" y="148"/>
                  </a:lnTo>
                  <a:lnTo>
                    <a:pt x="112" y="164"/>
                  </a:lnTo>
                  <a:lnTo>
                    <a:pt x="98" y="182"/>
                  </a:lnTo>
                  <a:lnTo>
                    <a:pt x="84" y="201"/>
                  </a:lnTo>
                  <a:lnTo>
                    <a:pt x="71" y="220"/>
                  </a:lnTo>
                  <a:lnTo>
                    <a:pt x="59" y="240"/>
                  </a:lnTo>
                  <a:lnTo>
                    <a:pt x="48" y="261"/>
                  </a:lnTo>
                  <a:lnTo>
                    <a:pt x="39" y="282"/>
                  </a:lnTo>
                  <a:lnTo>
                    <a:pt x="30" y="304"/>
                  </a:lnTo>
                  <a:lnTo>
                    <a:pt x="21" y="327"/>
                  </a:lnTo>
                  <a:lnTo>
                    <a:pt x="15" y="350"/>
                  </a:lnTo>
                  <a:lnTo>
                    <a:pt x="9" y="375"/>
                  </a:lnTo>
                  <a:lnTo>
                    <a:pt x="5" y="399"/>
                  </a:lnTo>
                  <a:lnTo>
                    <a:pt x="2" y="425"/>
                  </a:lnTo>
                  <a:lnTo>
                    <a:pt x="0" y="451"/>
                  </a:lnTo>
                  <a:lnTo>
                    <a:pt x="0" y="478"/>
                  </a:lnTo>
                  <a:lnTo>
                    <a:pt x="0" y="478"/>
                  </a:lnTo>
                  <a:lnTo>
                    <a:pt x="0" y="504"/>
                  </a:lnTo>
                  <a:lnTo>
                    <a:pt x="2" y="531"/>
                  </a:lnTo>
                  <a:lnTo>
                    <a:pt x="5" y="556"/>
                  </a:lnTo>
                  <a:lnTo>
                    <a:pt x="9" y="580"/>
                  </a:lnTo>
                  <a:lnTo>
                    <a:pt x="15" y="605"/>
                  </a:lnTo>
                  <a:lnTo>
                    <a:pt x="21" y="628"/>
                  </a:lnTo>
                  <a:lnTo>
                    <a:pt x="30" y="651"/>
                  </a:lnTo>
                  <a:lnTo>
                    <a:pt x="39" y="673"/>
                  </a:lnTo>
                  <a:lnTo>
                    <a:pt x="48" y="694"/>
                  </a:lnTo>
                  <a:lnTo>
                    <a:pt x="59" y="716"/>
                  </a:lnTo>
                  <a:lnTo>
                    <a:pt x="71" y="735"/>
                  </a:lnTo>
                  <a:lnTo>
                    <a:pt x="84" y="755"/>
                  </a:lnTo>
                  <a:lnTo>
                    <a:pt x="98" y="773"/>
                  </a:lnTo>
                  <a:lnTo>
                    <a:pt x="112" y="791"/>
                  </a:lnTo>
                  <a:lnTo>
                    <a:pt x="127" y="809"/>
                  </a:lnTo>
                  <a:lnTo>
                    <a:pt x="144" y="824"/>
                  </a:lnTo>
                  <a:lnTo>
                    <a:pt x="161" y="839"/>
                  </a:lnTo>
                  <a:lnTo>
                    <a:pt x="179" y="853"/>
                  </a:lnTo>
                  <a:lnTo>
                    <a:pt x="198" y="868"/>
                  </a:lnTo>
                  <a:lnTo>
                    <a:pt x="217" y="880"/>
                  </a:lnTo>
                  <a:lnTo>
                    <a:pt x="237" y="892"/>
                  </a:lnTo>
                  <a:lnTo>
                    <a:pt x="258" y="902"/>
                  </a:lnTo>
                  <a:lnTo>
                    <a:pt x="279" y="912"/>
                  </a:lnTo>
                  <a:lnTo>
                    <a:pt x="302" y="922"/>
                  </a:lnTo>
                  <a:lnTo>
                    <a:pt x="324" y="930"/>
                  </a:lnTo>
                  <a:lnTo>
                    <a:pt x="346" y="936"/>
                  </a:lnTo>
                  <a:lnTo>
                    <a:pt x="371" y="942"/>
                  </a:lnTo>
                  <a:lnTo>
                    <a:pt x="394" y="947"/>
                  </a:lnTo>
                  <a:lnTo>
                    <a:pt x="419" y="951"/>
                  </a:lnTo>
                  <a:lnTo>
                    <a:pt x="444" y="953"/>
                  </a:lnTo>
                  <a:lnTo>
                    <a:pt x="469" y="955"/>
                  </a:lnTo>
                  <a:lnTo>
                    <a:pt x="495" y="956"/>
                  </a:lnTo>
                  <a:lnTo>
                    <a:pt x="495" y="956"/>
                  </a:lnTo>
                  <a:lnTo>
                    <a:pt x="522" y="955"/>
                  </a:lnTo>
                  <a:lnTo>
                    <a:pt x="548" y="953"/>
                  </a:lnTo>
                  <a:lnTo>
                    <a:pt x="575" y="950"/>
                  </a:lnTo>
                  <a:lnTo>
                    <a:pt x="601" y="946"/>
                  </a:lnTo>
                  <a:lnTo>
                    <a:pt x="627" y="940"/>
                  </a:lnTo>
                  <a:lnTo>
                    <a:pt x="652" y="933"/>
                  </a:lnTo>
                  <a:lnTo>
                    <a:pt x="677" y="924"/>
                  </a:lnTo>
                  <a:lnTo>
                    <a:pt x="702" y="913"/>
                  </a:lnTo>
                  <a:lnTo>
                    <a:pt x="725" y="902"/>
                  </a:lnTo>
                  <a:lnTo>
                    <a:pt x="750" y="889"/>
                  </a:lnTo>
                  <a:lnTo>
                    <a:pt x="772" y="874"/>
                  </a:lnTo>
                  <a:lnTo>
                    <a:pt x="796" y="857"/>
                  </a:lnTo>
                  <a:lnTo>
                    <a:pt x="817" y="839"/>
                  </a:lnTo>
                  <a:lnTo>
                    <a:pt x="839" y="819"/>
                  </a:lnTo>
                  <a:lnTo>
                    <a:pt x="860" y="797"/>
                  </a:lnTo>
                  <a:lnTo>
                    <a:pt x="880" y="774"/>
                  </a:lnTo>
                  <a:lnTo>
                    <a:pt x="717" y="651"/>
                  </a:lnTo>
                  <a:lnTo>
                    <a:pt x="717" y="651"/>
                  </a:lnTo>
                  <a:lnTo>
                    <a:pt x="706" y="663"/>
                  </a:lnTo>
                  <a:lnTo>
                    <a:pt x="695" y="676"/>
                  </a:lnTo>
                  <a:lnTo>
                    <a:pt x="683" y="687"/>
                  </a:lnTo>
                  <a:lnTo>
                    <a:pt x="670" y="700"/>
                  </a:lnTo>
                  <a:lnTo>
                    <a:pt x="658" y="710"/>
                  </a:lnTo>
                  <a:lnTo>
                    <a:pt x="645" y="720"/>
                  </a:lnTo>
                  <a:lnTo>
                    <a:pt x="631" y="730"/>
                  </a:lnTo>
                  <a:lnTo>
                    <a:pt x="615" y="738"/>
                  </a:lnTo>
                  <a:lnTo>
                    <a:pt x="600" y="746"/>
                  </a:lnTo>
                  <a:lnTo>
                    <a:pt x="585" y="754"/>
                  </a:lnTo>
                  <a:lnTo>
                    <a:pt x="568" y="760"/>
                  </a:lnTo>
                  <a:lnTo>
                    <a:pt x="550" y="765"/>
                  </a:lnTo>
                  <a:lnTo>
                    <a:pt x="532" y="768"/>
                  </a:lnTo>
                  <a:lnTo>
                    <a:pt x="514" y="771"/>
                  </a:lnTo>
                  <a:lnTo>
                    <a:pt x="493" y="773"/>
                  </a:lnTo>
                  <a:lnTo>
                    <a:pt x="473" y="774"/>
                  </a:lnTo>
                  <a:lnTo>
                    <a:pt x="473" y="774"/>
                  </a:lnTo>
                  <a:lnTo>
                    <a:pt x="448" y="773"/>
                  </a:lnTo>
                  <a:lnTo>
                    <a:pt x="426" y="770"/>
                  </a:lnTo>
                  <a:lnTo>
                    <a:pt x="403" y="766"/>
                  </a:lnTo>
                  <a:lnTo>
                    <a:pt x="382" y="759"/>
                  </a:lnTo>
                  <a:lnTo>
                    <a:pt x="362" y="751"/>
                  </a:lnTo>
                  <a:lnTo>
                    <a:pt x="342" y="740"/>
                  </a:lnTo>
                  <a:lnTo>
                    <a:pt x="325" y="729"/>
                  </a:lnTo>
                  <a:lnTo>
                    <a:pt x="308" y="716"/>
                  </a:lnTo>
                  <a:lnTo>
                    <a:pt x="292" y="702"/>
                  </a:lnTo>
                  <a:lnTo>
                    <a:pt x="278" y="685"/>
                  </a:lnTo>
                  <a:lnTo>
                    <a:pt x="265" y="667"/>
                  </a:lnTo>
                  <a:lnTo>
                    <a:pt x="254" y="648"/>
                  </a:lnTo>
                  <a:lnTo>
                    <a:pt x="245" y="627"/>
                  </a:lnTo>
                  <a:lnTo>
                    <a:pt x="237" y="605"/>
                  </a:lnTo>
                  <a:lnTo>
                    <a:pt x="231" y="581"/>
                  </a:lnTo>
                  <a:lnTo>
                    <a:pt x="227" y="557"/>
                  </a:lnTo>
                  <a:lnTo>
                    <a:pt x="922" y="557"/>
                  </a:lnTo>
                  <a:close/>
                </a:path>
              </a:pathLst>
            </a:custGeom>
            <a:solidFill>
              <a:srgbClr val="60606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06060"/>
                </a:solidFill>
              </a:endParaRPr>
            </a:p>
          </p:txBody>
        </p:sp>
        <p:sp>
          <p:nvSpPr>
            <p:cNvPr id="28" name="Freeform 32"/>
            <p:cNvSpPr>
              <a:spLocks/>
            </p:cNvSpPr>
            <p:nvPr/>
          </p:nvSpPr>
          <p:spPr bwMode="auto">
            <a:xfrm>
              <a:off x="6078538" y="5346700"/>
              <a:ext cx="461962" cy="73977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228" y="22"/>
                </a:cxn>
                <a:cxn ang="0">
                  <a:pos x="228" y="167"/>
                </a:cxn>
                <a:cxn ang="0">
                  <a:pos x="232" y="167"/>
                </a:cxn>
                <a:cxn ang="0">
                  <a:pos x="232" y="167"/>
                </a:cxn>
                <a:cxn ang="0">
                  <a:pos x="241" y="148"/>
                </a:cxn>
                <a:cxn ang="0">
                  <a:pos x="252" y="129"/>
                </a:cxn>
                <a:cxn ang="0">
                  <a:pos x="265" y="112"/>
                </a:cxn>
                <a:cxn ang="0">
                  <a:pos x="278" y="97"/>
                </a:cxn>
                <a:cxn ang="0">
                  <a:pos x="292" y="81"/>
                </a:cxn>
                <a:cxn ang="0">
                  <a:pos x="307" y="68"/>
                </a:cxn>
                <a:cxn ang="0">
                  <a:pos x="324" y="55"/>
                </a:cxn>
                <a:cxn ang="0">
                  <a:pos x="340" y="44"/>
                </a:cxn>
                <a:cxn ang="0">
                  <a:pos x="358" y="34"/>
                </a:cxn>
                <a:cxn ang="0">
                  <a:pos x="377" y="25"/>
                </a:cxn>
                <a:cxn ang="0">
                  <a:pos x="396" y="17"/>
                </a:cxn>
                <a:cxn ang="0">
                  <a:pos x="415" y="11"/>
                </a:cxn>
                <a:cxn ang="0">
                  <a:pos x="436" y="6"/>
                </a:cxn>
                <a:cxn ang="0">
                  <a:pos x="457" y="3"/>
                </a:cxn>
                <a:cxn ang="0">
                  <a:pos x="480" y="0"/>
                </a:cxn>
                <a:cxn ang="0">
                  <a:pos x="501" y="0"/>
                </a:cxn>
                <a:cxn ang="0">
                  <a:pos x="501" y="0"/>
                </a:cxn>
                <a:cxn ang="0">
                  <a:pos x="522" y="1"/>
                </a:cxn>
                <a:cxn ang="0">
                  <a:pos x="543" y="3"/>
                </a:cxn>
                <a:cxn ang="0">
                  <a:pos x="563" y="8"/>
                </a:cxn>
                <a:cxn ang="0">
                  <a:pos x="583" y="13"/>
                </a:cxn>
                <a:cxn ang="0">
                  <a:pos x="583" y="233"/>
                </a:cxn>
                <a:cxn ang="0">
                  <a:pos x="583" y="233"/>
                </a:cxn>
                <a:cxn ang="0">
                  <a:pos x="555" y="226"/>
                </a:cxn>
                <a:cxn ang="0">
                  <a:pos x="528" y="221"/>
                </a:cxn>
                <a:cxn ang="0">
                  <a:pos x="500" y="218"/>
                </a:cxn>
                <a:cxn ang="0">
                  <a:pos x="486" y="217"/>
                </a:cxn>
                <a:cxn ang="0">
                  <a:pos x="473" y="216"/>
                </a:cxn>
                <a:cxn ang="0">
                  <a:pos x="473" y="216"/>
                </a:cxn>
                <a:cxn ang="0">
                  <a:pos x="453" y="217"/>
                </a:cxn>
                <a:cxn ang="0">
                  <a:pos x="435" y="218"/>
                </a:cxn>
                <a:cxn ang="0">
                  <a:pos x="418" y="221"/>
                </a:cxn>
                <a:cxn ang="0">
                  <a:pos x="400" y="224"/>
                </a:cxn>
                <a:cxn ang="0">
                  <a:pos x="385" y="228"/>
                </a:cxn>
                <a:cxn ang="0">
                  <a:pos x="371" y="233"/>
                </a:cxn>
                <a:cxn ang="0">
                  <a:pos x="356" y="238"/>
                </a:cxn>
                <a:cxn ang="0">
                  <a:pos x="344" y="245"/>
                </a:cxn>
                <a:cxn ang="0">
                  <a:pos x="332" y="252"/>
                </a:cxn>
                <a:cxn ang="0">
                  <a:pos x="321" y="260"/>
                </a:cxn>
                <a:cxn ang="0">
                  <a:pos x="311" y="268"/>
                </a:cxn>
                <a:cxn ang="0">
                  <a:pos x="301" y="276"/>
                </a:cxn>
                <a:cxn ang="0">
                  <a:pos x="292" y="284"/>
                </a:cxn>
                <a:cxn ang="0">
                  <a:pos x="284" y="293"/>
                </a:cxn>
                <a:cxn ang="0">
                  <a:pos x="277" y="302"/>
                </a:cxn>
                <a:cxn ang="0">
                  <a:pos x="270" y="313"/>
                </a:cxn>
                <a:cxn ang="0">
                  <a:pos x="259" y="332"/>
                </a:cxn>
                <a:cxn ang="0">
                  <a:pos x="248" y="351"/>
                </a:cxn>
                <a:cxn ang="0">
                  <a:pos x="241" y="371"/>
                </a:cxn>
                <a:cxn ang="0">
                  <a:pos x="236" y="389"/>
                </a:cxn>
                <a:cxn ang="0">
                  <a:pos x="232" y="406"/>
                </a:cxn>
                <a:cxn ang="0">
                  <a:pos x="230" y="422"/>
                </a:cxn>
                <a:cxn ang="0">
                  <a:pos x="228" y="435"/>
                </a:cxn>
                <a:cxn ang="0">
                  <a:pos x="228" y="446"/>
                </a:cxn>
                <a:cxn ang="0">
                  <a:pos x="228" y="933"/>
                </a:cxn>
                <a:cxn ang="0">
                  <a:pos x="0" y="933"/>
                </a:cxn>
                <a:cxn ang="0">
                  <a:pos x="0" y="22"/>
                </a:cxn>
              </a:cxnLst>
              <a:rect l="0" t="0" r="r" b="b"/>
              <a:pathLst>
                <a:path w="583" h="933">
                  <a:moveTo>
                    <a:pt x="0" y="22"/>
                  </a:moveTo>
                  <a:lnTo>
                    <a:pt x="228" y="22"/>
                  </a:lnTo>
                  <a:lnTo>
                    <a:pt x="228" y="167"/>
                  </a:lnTo>
                  <a:lnTo>
                    <a:pt x="232" y="167"/>
                  </a:lnTo>
                  <a:lnTo>
                    <a:pt x="232" y="167"/>
                  </a:lnTo>
                  <a:lnTo>
                    <a:pt x="241" y="148"/>
                  </a:lnTo>
                  <a:lnTo>
                    <a:pt x="252" y="129"/>
                  </a:lnTo>
                  <a:lnTo>
                    <a:pt x="265" y="112"/>
                  </a:lnTo>
                  <a:lnTo>
                    <a:pt x="278" y="97"/>
                  </a:lnTo>
                  <a:lnTo>
                    <a:pt x="292" y="81"/>
                  </a:lnTo>
                  <a:lnTo>
                    <a:pt x="307" y="68"/>
                  </a:lnTo>
                  <a:lnTo>
                    <a:pt x="324" y="55"/>
                  </a:lnTo>
                  <a:lnTo>
                    <a:pt x="340" y="44"/>
                  </a:lnTo>
                  <a:lnTo>
                    <a:pt x="358" y="34"/>
                  </a:lnTo>
                  <a:lnTo>
                    <a:pt x="377" y="25"/>
                  </a:lnTo>
                  <a:lnTo>
                    <a:pt x="396" y="17"/>
                  </a:lnTo>
                  <a:lnTo>
                    <a:pt x="415" y="11"/>
                  </a:lnTo>
                  <a:lnTo>
                    <a:pt x="436" y="6"/>
                  </a:lnTo>
                  <a:lnTo>
                    <a:pt x="457" y="3"/>
                  </a:lnTo>
                  <a:lnTo>
                    <a:pt x="480" y="0"/>
                  </a:lnTo>
                  <a:lnTo>
                    <a:pt x="501" y="0"/>
                  </a:lnTo>
                  <a:lnTo>
                    <a:pt x="501" y="0"/>
                  </a:lnTo>
                  <a:lnTo>
                    <a:pt x="522" y="1"/>
                  </a:lnTo>
                  <a:lnTo>
                    <a:pt x="543" y="3"/>
                  </a:lnTo>
                  <a:lnTo>
                    <a:pt x="563" y="8"/>
                  </a:lnTo>
                  <a:lnTo>
                    <a:pt x="583" y="13"/>
                  </a:lnTo>
                  <a:lnTo>
                    <a:pt x="583" y="233"/>
                  </a:lnTo>
                  <a:lnTo>
                    <a:pt x="583" y="233"/>
                  </a:lnTo>
                  <a:lnTo>
                    <a:pt x="555" y="226"/>
                  </a:lnTo>
                  <a:lnTo>
                    <a:pt x="528" y="221"/>
                  </a:lnTo>
                  <a:lnTo>
                    <a:pt x="500" y="218"/>
                  </a:lnTo>
                  <a:lnTo>
                    <a:pt x="486" y="217"/>
                  </a:lnTo>
                  <a:lnTo>
                    <a:pt x="473" y="216"/>
                  </a:lnTo>
                  <a:lnTo>
                    <a:pt x="473" y="216"/>
                  </a:lnTo>
                  <a:lnTo>
                    <a:pt x="453" y="217"/>
                  </a:lnTo>
                  <a:lnTo>
                    <a:pt x="435" y="218"/>
                  </a:lnTo>
                  <a:lnTo>
                    <a:pt x="418" y="221"/>
                  </a:lnTo>
                  <a:lnTo>
                    <a:pt x="400" y="224"/>
                  </a:lnTo>
                  <a:lnTo>
                    <a:pt x="385" y="228"/>
                  </a:lnTo>
                  <a:lnTo>
                    <a:pt x="371" y="233"/>
                  </a:lnTo>
                  <a:lnTo>
                    <a:pt x="356" y="238"/>
                  </a:lnTo>
                  <a:lnTo>
                    <a:pt x="344" y="245"/>
                  </a:lnTo>
                  <a:lnTo>
                    <a:pt x="332" y="252"/>
                  </a:lnTo>
                  <a:lnTo>
                    <a:pt x="321" y="260"/>
                  </a:lnTo>
                  <a:lnTo>
                    <a:pt x="311" y="268"/>
                  </a:lnTo>
                  <a:lnTo>
                    <a:pt x="301" y="276"/>
                  </a:lnTo>
                  <a:lnTo>
                    <a:pt x="292" y="284"/>
                  </a:lnTo>
                  <a:lnTo>
                    <a:pt x="284" y="293"/>
                  </a:lnTo>
                  <a:lnTo>
                    <a:pt x="277" y="302"/>
                  </a:lnTo>
                  <a:lnTo>
                    <a:pt x="270" y="313"/>
                  </a:lnTo>
                  <a:lnTo>
                    <a:pt x="259" y="332"/>
                  </a:lnTo>
                  <a:lnTo>
                    <a:pt x="248" y="351"/>
                  </a:lnTo>
                  <a:lnTo>
                    <a:pt x="241" y="371"/>
                  </a:lnTo>
                  <a:lnTo>
                    <a:pt x="236" y="389"/>
                  </a:lnTo>
                  <a:lnTo>
                    <a:pt x="232" y="406"/>
                  </a:lnTo>
                  <a:lnTo>
                    <a:pt x="230" y="422"/>
                  </a:lnTo>
                  <a:lnTo>
                    <a:pt x="228" y="435"/>
                  </a:lnTo>
                  <a:lnTo>
                    <a:pt x="228" y="446"/>
                  </a:lnTo>
                  <a:lnTo>
                    <a:pt x="228" y="933"/>
                  </a:lnTo>
                  <a:lnTo>
                    <a:pt x="0" y="933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60606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06060"/>
                </a:solidFill>
              </a:endParaRPr>
            </a:p>
          </p:txBody>
        </p:sp>
        <p:sp>
          <p:nvSpPr>
            <p:cNvPr id="29" name="Freeform 33"/>
            <p:cNvSpPr>
              <a:spLocks noEditPoints="1"/>
            </p:cNvSpPr>
            <p:nvPr/>
          </p:nvSpPr>
          <p:spPr bwMode="auto">
            <a:xfrm>
              <a:off x="6550025" y="5346700"/>
              <a:ext cx="781050" cy="1101725"/>
            </a:xfrm>
            <a:custGeom>
              <a:avLst/>
              <a:gdLst/>
              <a:ahLst/>
              <a:cxnLst>
                <a:cxn ang="0">
                  <a:pos x="735" y="120"/>
                </a:cxn>
                <a:cxn ang="0">
                  <a:pos x="629" y="38"/>
                </a:cxn>
                <a:cxn ang="0">
                  <a:pos x="497" y="2"/>
                </a:cxn>
                <a:cxn ang="0">
                  <a:pos x="374" y="5"/>
                </a:cxn>
                <a:cxn ang="0">
                  <a:pos x="240" y="46"/>
                </a:cxn>
                <a:cxn ang="0">
                  <a:pos x="134" y="122"/>
                </a:cxn>
                <a:cxn ang="0">
                  <a:pos x="58" y="227"/>
                </a:cxn>
                <a:cxn ang="0">
                  <a:pos x="12" y="356"/>
                </a:cxn>
                <a:cxn ang="0">
                  <a:pos x="0" y="478"/>
                </a:cxn>
                <a:cxn ang="0">
                  <a:pos x="18" y="616"/>
                </a:cxn>
                <a:cxn ang="0">
                  <a:pos x="71" y="738"/>
                </a:cxn>
                <a:cxn ang="0">
                  <a:pos x="156" y="838"/>
                </a:cxn>
                <a:cxn ang="0">
                  <a:pos x="268" y="907"/>
                </a:cxn>
                <a:cxn ang="0">
                  <a:pos x="403" y="942"/>
                </a:cxn>
                <a:cxn ang="0">
                  <a:pos x="517" y="940"/>
                </a:cxn>
                <a:cxn ang="0">
                  <a:pos x="640" y="902"/>
                </a:cxn>
                <a:cxn ang="0">
                  <a:pos x="738" y="828"/>
                </a:cxn>
                <a:cxn ang="0">
                  <a:pos x="752" y="943"/>
                </a:cxn>
                <a:cxn ang="0">
                  <a:pos x="722" y="1054"/>
                </a:cxn>
                <a:cxn ang="0">
                  <a:pos x="675" y="1117"/>
                </a:cxn>
                <a:cxn ang="0">
                  <a:pos x="605" y="1161"/>
                </a:cxn>
                <a:cxn ang="0">
                  <a:pos x="506" y="1182"/>
                </a:cxn>
                <a:cxn ang="0">
                  <a:pos x="398" y="1178"/>
                </a:cxn>
                <a:cxn ang="0">
                  <a:pos x="278" y="1141"/>
                </a:cxn>
                <a:cxn ang="0">
                  <a:pos x="171" y="1067"/>
                </a:cxn>
                <a:cxn ang="0">
                  <a:pos x="93" y="1294"/>
                </a:cxn>
                <a:cxn ang="0">
                  <a:pos x="257" y="1364"/>
                </a:cxn>
                <a:cxn ang="0">
                  <a:pos x="437" y="1388"/>
                </a:cxn>
                <a:cxn ang="0">
                  <a:pos x="593" y="1379"/>
                </a:cxn>
                <a:cxn ang="0">
                  <a:pos x="746" y="1330"/>
                </a:cxn>
                <a:cxn ang="0">
                  <a:pos x="859" y="1242"/>
                </a:cxn>
                <a:cxn ang="0">
                  <a:pos x="935" y="1121"/>
                </a:cxn>
                <a:cxn ang="0">
                  <a:pos x="976" y="968"/>
                </a:cxn>
                <a:cxn ang="0">
                  <a:pos x="767" y="22"/>
                </a:cxn>
                <a:cxn ang="0">
                  <a:pos x="440" y="734"/>
                </a:cxn>
                <a:cxn ang="0">
                  <a:pos x="366" y="708"/>
                </a:cxn>
                <a:cxn ang="0">
                  <a:pos x="303" y="662"/>
                </a:cxn>
                <a:cxn ang="0">
                  <a:pos x="259" y="601"/>
                </a:cxn>
                <a:cxn ang="0">
                  <a:pos x="233" y="529"/>
                </a:cxn>
                <a:cxn ang="0">
                  <a:pos x="228" y="461"/>
                </a:cxn>
                <a:cxn ang="0">
                  <a:pos x="243" y="378"/>
                </a:cxn>
                <a:cxn ang="0">
                  <a:pos x="278" y="309"/>
                </a:cxn>
                <a:cxn ang="0">
                  <a:pos x="332" y="256"/>
                </a:cxn>
                <a:cxn ang="0">
                  <a:pos x="400" y="220"/>
                </a:cxn>
                <a:cxn ang="0">
                  <a:pos x="483" y="205"/>
                </a:cxn>
                <a:cxn ang="0">
                  <a:pos x="556" y="210"/>
                </a:cxn>
                <a:cxn ang="0">
                  <a:pos x="633" y="235"/>
                </a:cxn>
                <a:cxn ang="0">
                  <a:pos x="694" y="279"/>
                </a:cxn>
                <a:cxn ang="0">
                  <a:pos x="737" y="340"/>
                </a:cxn>
                <a:cxn ang="0">
                  <a:pos x="762" y="415"/>
                </a:cxn>
                <a:cxn ang="0">
                  <a:pos x="765" y="500"/>
                </a:cxn>
                <a:cxn ang="0">
                  <a:pos x="744" y="590"/>
                </a:cxn>
                <a:cxn ang="0">
                  <a:pos x="703" y="654"/>
                </a:cxn>
                <a:cxn ang="0">
                  <a:pos x="645" y="702"/>
                </a:cxn>
                <a:cxn ang="0">
                  <a:pos x="569" y="731"/>
                </a:cxn>
                <a:cxn ang="0">
                  <a:pos x="495" y="739"/>
                </a:cxn>
              </a:cxnLst>
              <a:rect l="0" t="0" r="r" b="b"/>
              <a:pathLst>
                <a:path w="983" h="1388">
                  <a:moveTo>
                    <a:pt x="767" y="22"/>
                  </a:moveTo>
                  <a:lnTo>
                    <a:pt x="767" y="159"/>
                  </a:lnTo>
                  <a:lnTo>
                    <a:pt x="763" y="159"/>
                  </a:lnTo>
                  <a:lnTo>
                    <a:pt x="763" y="159"/>
                  </a:lnTo>
                  <a:lnTo>
                    <a:pt x="750" y="139"/>
                  </a:lnTo>
                  <a:lnTo>
                    <a:pt x="735" y="120"/>
                  </a:lnTo>
                  <a:lnTo>
                    <a:pt x="720" y="104"/>
                  </a:lnTo>
                  <a:lnTo>
                    <a:pt x="704" y="88"/>
                  </a:lnTo>
                  <a:lnTo>
                    <a:pt x="687" y="73"/>
                  </a:lnTo>
                  <a:lnTo>
                    <a:pt x="668" y="60"/>
                  </a:lnTo>
                  <a:lnTo>
                    <a:pt x="649" y="49"/>
                  </a:lnTo>
                  <a:lnTo>
                    <a:pt x="629" y="38"/>
                  </a:lnTo>
                  <a:lnTo>
                    <a:pt x="609" y="28"/>
                  </a:lnTo>
                  <a:lnTo>
                    <a:pt x="588" y="21"/>
                  </a:lnTo>
                  <a:lnTo>
                    <a:pt x="565" y="14"/>
                  </a:lnTo>
                  <a:lnTo>
                    <a:pt x="543" y="9"/>
                  </a:lnTo>
                  <a:lnTo>
                    <a:pt x="520" y="5"/>
                  </a:lnTo>
                  <a:lnTo>
                    <a:pt x="497" y="2"/>
                  </a:lnTo>
                  <a:lnTo>
                    <a:pt x="474" y="0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24" y="0"/>
                  </a:lnTo>
                  <a:lnTo>
                    <a:pt x="398" y="2"/>
                  </a:lnTo>
                  <a:lnTo>
                    <a:pt x="374" y="5"/>
                  </a:lnTo>
                  <a:lnTo>
                    <a:pt x="350" y="9"/>
                  </a:lnTo>
                  <a:lnTo>
                    <a:pt x="327" y="14"/>
                  </a:lnTo>
                  <a:lnTo>
                    <a:pt x="304" y="20"/>
                  </a:lnTo>
                  <a:lnTo>
                    <a:pt x="282" y="28"/>
                  </a:lnTo>
                  <a:lnTo>
                    <a:pt x="261" y="37"/>
                  </a:lnTo>
                  <a:lnTo>
                    <a:pt x="240" y="46"/>
                  </a:lnTo>
                  <a:lnTo>
                    <a:pt x="221" y="56"/>
                  </a:lnTo>
                  <a:lnTo>
                    <a:pt x="203" y="68"/>
                  </a:lnTo>
                  <a:lnTo>
                    <a:pt x="184" y="80"/>
                  </a:lnTo>
                  <a:lnTo>
                    <a:pt x="167" y="93"/>
                  </a:lnTo>
                  <a:lnTo>
                    <a:pt x="151" y="107"/>
                  </a:lnTo>
                  <a:lnTo>
                    <a:pt x="134" y="122"/>
                  </a:lnTo>
                  <a:lnTo>
                    <a:pt x="120" y="137"/>
                  </a:lnTo>
                  <a:lnTo>
                    <a:pt x="106" y="154"/>
                  </a:lnTo>
                  <a:lnTo>
                    <a:pt x="93" y="171"/>
                  </a:lnTo>
                  <a:lnTo>
                    <a:pt x="80" y="189"/>
                  </a:lnTo>
                  <a:lnTo>
                    <a:pt x="68" y="208"/>
                  </a:lnTo>
                  <a:lnTo>
                    <a:pt x="58" y="227"/>
                  </a:lnTo>
                  <a:lnTo>
                    <a:pt x="48" y="247"/>
                  </a:lnTo>
                  <a:lnTo>
                    <a:pt x="39" y="268"/>
                  </a:lnTo>
                  <a:lnTo>
                    <a:pt x="30" y="289"/>
                  </a:lnTo>
                  <a:lnTo>
                    <a:pt x="23" y="312"/>
                  </a:lnTo>
                  <a:lnTo>
                    <a:pt x="17" y="334"/>
                  </a:lnTo>
                  <a:lnTo>
                    <a:pt x="12" y="356"/>
                  </a:lnTo>
                  <a:lnTo>
                    <a:pt x="8" y="380"/>
                  </a:lnTo>
                  <a:lnTo>
                    <a:pt x="5" y="403"/>
                  </a:lnTo>
                  <a:lnTo>
                    <a:pt x="2" y="428"/>
                  </a:lnTo>
                  <a:lnTo>
                    <a:pt x="1" y="452"/>
                  </a:lnTo>
                  <a:lnTo>
                    <a:pt x="0" y="478"/>
                  </a:lnTo>
                  <a:lnTo>
                    <a:pt x="0" y="478"/>
                  </a:lnTo>
                  <a:lnTo>
                    <a:pt x="1" y="502"/>
                  </a:lnTo>
                  <a:lnTo>
                    <a:pt x="2" y="525"/>
                  </a:lnTo>
                  <a:lnTo>
                    <a:pt x="5" y="549"/>
                  </a:lnTo>
                  <a:lnTo>
                    <a:pt x="8" y="571"/>
                  </a:lnTo>
                  <a:lnTo>
                    <a:pt x="13" y="595"/>
                  </a:lnTo>
                  <a:lnTo>
                    <a:pt x="18" y="616"/>
                  </a:lnTo>
                  <a:lnTo>
                    <a:pt x="25" y="638"/>
                  </a:lnTo>
                  <a:lnTo>
                    <a:pt x="32" y="659"/>
                  </a:lnTo>
                  <a:lnTo>
                    <a:pt x="41" y="680"/>
                  </a:lnTo>
                  <a:lnTo>
                    <a:pt x="50" y="701"/>
                  </a:lnTo>
                  <a:lnTo>
                    <a:pt x="60" y="720"/>
                  </a:lnTo>
                  <a:lnTo>
                    <a:pt x="71" y="738"/>
                  </a:lnTo>
                  <a:lnTo>
                    <a:pt x="83" y="757"/>
                  </a:lnTo>
                  <a:lnTo>
                    <a:pt x="97" y="775"/>
                  </a:lnTo>
                  <a:lnTo>
                    <a:pt x="110" y="791"/>
                  </a:lnTo>
                  <a:lnTo>
                    <a:pt x="124" y="808"/>
                  </a:lnTo>
                  <a:lnTo>
                    <a:pt x="139" y="823"/>
                  </a:lnTo>
                  <a:lnTo>
                    <a:pt x="156" y="838"/>
                  </a:lnTo>
                  <a:lnTo>
                    <a:pt x="172" y="851"/>
                  </a:lnTo>
                  <a:lnTo>
                    <a:pt x="190" y="865"/>
                  </a:lnTo>
                  <a:lnTo>
                    <a:pt x="209" y="877"/>
                  </a:lnTo>
                  <a:lnTo>
                    <a:pt x="227" y="888"/>
                  </a:lnTo>
                  <a:lnTo>
                    <a:pt x="247" y="898"/>
                  </a:lnTo>
                  <a:lnTo>
                    <a:pt x="268" y="907"/>
                  </a:lnTo>
                  <a:lnTo>
                    <a:pt x="288" y="916"/>
                  </a:lnTo>
                  <a:lnTo>
                    <a:pt x="311" y="924"/>
                  </a:lnTo>
                  <a:lnTo>
                    <a:pt x="333" y="930"/>
                  </a:lnTo>
                  <a:lnTo>
                    <a:pt x="355" y="935"/>
                  </a:lnTo>
                  <a:lnTo>
                    <a:pt x="379" y="939"/>
                  </a:lnTo>
                  <a:lnTo>
                    <a:pt x="403" y="942"/>
                  </a:lnTo>
                  <a:lnTo>
                    <a:pt x="429" y="944"/>
                  </a:lnTo>
                  <a:lnTo>
                    <a:pt x="453" y="944"/>
                  </a:lnTo>
                  <a:lnTo>
                    <a:pt x="453" y="944"/>
                  </a:lnTo>
                  <a:lnTo>
                    <a:pt x="475" y="944"/>
                  </a:lnTo>
                  <a:lnTo>
                    <a:pt x="496" y="942"/>
                  </a:lnTo>
                  <a:lnTo>
                    <a:pt x="517" y="940"/>
                  </a:lnTo>
                  <a:lnTo>
                    <a:pt x="539" y="936"/>
                  </a:lnTo>
                  <a:lnTo>
                    <a:pt x="560" y="932"/>
                  </a:lnTo>
                  <a:lnTo>
                    <a:pt x="581" y="926"/>
                  </a:lnTo>
                  <a:lnTo>
                    <a:pt x="601" y="920"/>
                  </a:lnTo>
                  <a:lnTo>
                    <a:pt x="620" y="911"/>
                  </a:lnTo>
                  <a:lnTo>
                    <a:pt x="640" y="902"/>
                  </a:lnTo>
                  <a:lnTo>
                    <a:pt x="658" y="893"/>
                  </a:lnTo>
                  <a:lnTo>
                    <a:pt x="676" y="882"/>
                  </a:lnTo>
                  <a:lnTo>
                    <a:pt x="693" y="870"/>
                  </a:lnTo>
                  <a:lnTo>
                    <a:pt x="709" y="857"/>
                  </a:lnTo>
                  <a:lnTo>
                    <a:pt x="724" y="843"/>
                  </a:lnTo>
                  <a:lnTo>
                    <a:pt x="738" y="828"/>
                  </a:lnTo>
                  <a:lnTo>
                    <a:pt x="752" y="812"/>
                  </a:lnTo>
                  <a:lnTo>
                    <a:pt x="756" y="812"/>
                  </a:lnTo>
                  <a:lnTo>
                    <a:pt x="756" y="878"/>
                  </a:lnTo>
                  <a:lnTo>
                    <a:pt x="756" y="878"/>
                  </a:lnTo>
                  <a:lnTo>
                    <a:pt x="755" y="911"/>
                  </a:lnTo>
                  <a:lnTo>
                    <a:pt x="752" y="943"/>
                  </a:lnTo>
                  <a:lnTo>
                    <a:pt x="748" y="974"/>
                  </a:lnTo>
                  <a:lnTo>
                    <a:pt x="742" y="1002"/>
                  </a:lnTo>
                  <a:lnTo>
                    <a:pt x="737" y="1015"/>
                  </a:lnTo>
                  <a:lnTo>
                    <a:pt x="732" y="1029"/>
                  </a:lnTo>
                  <a:lnTo>
                    <a:pt x="727" y="1042"/>
                  </a:lnTo>
                  <a:lnTo>
                    <a:pt x="722" y="1054"/>
                  </a:lnTo>
                  <a:lnTo>
                    <a:pt x="716" y="1066"/>
                  </a:lnTo>
                  <a:lnTo>
                    <a:pt x="709" y="1077"/>
                  </a:lnTo>
                  <a:lnTo>
                    <a:pt x="702" y="1088"/>
                  </a:lnTo>
                  <a:lnTo>
                    <a:pt x="694" y="1099"/>
                  </a:lnTo>
                  <a:lnTo>
                    <a:pt x="685" y="1108"/>
                  </a:lnTo>
                  <a:lnTo>
                    <a:pt x="675" y="1117"/>
                  </a:lnTo>
                  <a:lnTo>
                    <a:pt x="666" y="1126"/>
                  </a:lnTo>
                  <a:lnTo>
                    <a:pt x="655" y="1134"/>
                  </a:lnTo>
                  <a:lnTo>
                    <a:pt x="644" y="1142"/>
                  </a:lnTo>
                  <a:lnTo>
                    <a:pt x="631" y="1149"/>
                  </a:lnTo>
                  <a:lnTo>
                    <a:pt x="618" y="1155"/>
                  </a:lnTo>
                  <a:lnTo>
                    <a:pt x="605" y="1161"/>
                  </a:lnTo>
                  <a:lnTo>
                    <a:pt x="591" y="1166"/>
                  </a:lnTo>
                  <a:lnTo>
                    <a:pt x="575" y="1170"/>
                  </a:lnTo>
                  <a:lnTo>
                    <a:pt x="559" y="1174"/>
                  </a:lnTo>
                  <a:lnTo>
                    <a:pt x="543" y="1177"/>
                  </a:lnTo>
                  <a:lnTo>
                    <a:pt x="525" y="1180"/>
                  </a:lnTo>
                  <a:lnTo>
                    <a:pt x="506" y="1182"/>
                  </a:lnTo>
                  <a:lnTo>
                    <a:pt x="487" y="1183"/>
                  </a:lnTo>
                  <a:lnTo>
                    <a:pt x="467" y="1183"/>
                  </a:lnTo>
                  <a:lnTo>
                    <a:pt x="467" y="1183"/>
                  </a:lnTo>
                  <a:lnTo>
                    <a:pt x="443" y="1182"/>
                  </a:lnTo>
                  <a:lnTo>
                    <a:pt x="421" y="1181"/>
                  </a:lnTo>
                  <a:lnTo>
                    <a:pt x="398" y="1178"/>
                  </a:lnTo>
                  <a:lnTo>
                    <a:pt x="377" y="1174"/>
                  </a:lnTo>
                  <a:lnTo>
                    <a:pt x="356" y="1170"/>
                  </a:lnTo>
                  <a:lnTo>
                    <a:pt x="336" y="1164"/>
                  </a:lnTo>
                  <a:lnTo>
                    <a:pt x="316" y="1157"/>
                  </a:lnTo>
                  <a:lnTo>
                    <a:pt x="296" y="1149"/>
                  </a:lnTo>
                  <a:lnTo>
                    <a:pt x="278" y="1141"/>
                  </a:lnTo>
                  <a:lnTo>
                    <a:pt x="260" y="1130"/>
                  </a:lnTo>
                  <a:lnTo>
                    <a:pt x="241" y="1120"/>
                  </a:lnTo>
                  <a:lnTo>
                    <a:pt x="223" y="1108"/>
                  </a:lnTo>
                  <a:lnTo>
                    <a:pt x="206" y="1096"/>
                  </a:lnTo>
                  <a:lnTo>
                    <a:pt x="188" y="1082"/>
                  </a:lnTo>
                  <a:lnTo>
                    <a:pt x="171" y="1067"/>
                  </a:lnTo>
                  <a:lnTo>
                    <a:pt x="154" y="1052"/>
                  </a:lnTo>
                  <a:lnTo>
                    <a:pt x="17" y="1238"/>
                  </a:lnTo>
                  <a:lnTo>
                    <a:pt x="17" y="1238"/>
                  </a:lnTo>
                  <a:lnTo>
                    <a:pt x="42" y="1259"/>
                  </a:lnTo>
                  <a:lnTo>
                    <a:pt x="67" y="1277"/>
                  </a:lnTo>
                  <a:lnTo>
                    <a:pt x="93" y="1294"/>
                  </a:lnTo>
                  <a:lnTo>
                    <a:pt x="118" y="1310"/>
                  </a:lnTo>
                  <a:lnTo>
                    <a:pt x="144" y="1324"/>
                  </a:lnTo>
                  <a:lnTo>
                    <a:pt x="172" y="1336"/>
                  </a:lnTo>
                  <a:lnTo>
                    <a:pt x="200" y="1346"/>
                  </a:lnTo>
                  <a:lnTo>
                    <a:pt x="228" y="1356"/>
                  </a:lnTo>
                  <a:lnTo>
                    <a:pt x="257" y="1364"/>
                  </a:lnTo>
                  <a:lnTo>
                    <a:pt x="286" y="1371"/>
                  </a:lnTo>
                  <a:lnTo>
                    <a:pt x="316" y="1377"/>
                  </a:lnTo>
                  <a:lnTo>
                    <a:pt x="345" y="1381"/>
                  </a:lnTo>
                  <a:lnTo>
                    <a:pt x="376" y="1384"/>
                  </a:lnTo>
                  <a:lnTo>
                    <a:pt x="406" y="1387"/>
                  </a:lnTo>
                  <a:lnTo>
                    <a:pt x="437" y="1388"/>
                  </a:lnTo>
                  <a:lnTo>
                    <a:pt x="468" y="1388"/>
                  </a:lnTo>
                  <a:lnTo>
                    <a:pt x="468" y="1388"/>
                  </a:lnTo>
                  <a:lnTo>
                    <a:pt x="501" y="1388"/>
                  </a:lnTo>
                  <a:lnTo>
                    <a:pt x="533" y="1386"/>
                  </a:lnTo>
                  <a:lnTo>
                    <a:pt x="563" y="1383"/>
                  </a:lnTo>
                  <a:lnTo>
                    <a:pt x="593" y="1379"/>
                  </a:lnTo>
                  <a:lnTo>
                    <a:pt x="621" y="1374"/>
                  </a:lnTo>
                  <a:lnTo>
                    <a:pt x="648" y="1367"/>
                  </a:lnTo>
                  <a:lnTo>
                    <a:pt x="674" y="1359"/>
                  </a:lnTo>
                  <a:lnTo>
                    <a:pt x="699" y="1350"/>
                  </a:lnTo>
                  <a:lnTo>
                    <a:pt x="722" y="1341"/>
                  </a:lnTo>
                  <a:lnTo>
                    <a:pt x="746" y="1330"/>
                  </a:lnTo>
                  <a:lnTo>
                    <a:pt x="767" y="1318"/>
                  </a:lnTo>
                  <a:lnTo>
                    <a:pt x="787" y="1304"/>
                  </a:lnTo>
                  <a:lnTo>
                    <a:pt x="807" y="1291"/>
                  </a:lnTo>
                  <a:lnTo>
                    <a:pt x="825" y="1276"/>
                  </a:lnTo>
                  <a:lnTo>
                    <a:pt x="842" y="1260"/>
                  </a:lnTo>
                  <a:lnTo>
                    <a:pt x="859" y="1242"/>
                  </a:lnTo>
                  <a:lnTo>
                    <a:pt x="874" y="1225"/>
                  </a:lnTo>
                  <a:lnTo>
                    <a:pt x="888" y="1206"/>
                  </a:lnTo>
                  <a:lnTo>
                    <a:pt x="901" y="1186"/>
                  </a:lnTo>
                  <a:lnTo>
                    <a:pt x="914" y="1165"/>
                  </a:lnTo>
                  <a:lnTo>
                    <a:pt x="925" y="1144"/>
                  </a:lnTo>
                  <a:lnTo>
                    <a:pt x="935" y="1121"/>
                  </a:lnTo>
                  <a:lnTo>
                    <a:pt x="944" y="1098"/>
                  </a:lnTo>
                  <a:lnTo>
                    <a:pt x="952" y="1073"/>
                  </a:lnTo>
                  <a:lnTo>
                    <a:pt x="960" y="1049"/>
                  </a:lnTo>
                  <a:lnTo>
                    <a:pt x="966" y="1022"/>
                  </a:lnTo>
                  <a:lnTo>
                    <a:pt x="971" y="996"/>
                  </a:lnTo>
                  <a:lnTo>
                    <a:pt x="976" y="968"/>
                  </a:lnTo>
                  <a:lnTo>
                    <a:pt x="979" y="941"/>
                  </a:lnTo>
                  <a:lnTo>
                    <a:pt x="981" y="911"/>
                  </a:lnTo>
                  <a:lnTo>
                    <a:pt x="983" y="882"/>
                  </a:lnTo>
                  <a:lnTo>
                    <a:pt x="983" y="851"/>
                  </a:lnTo>
                  <a:lnTo>
                    <a:pt x="983" y="22"/>
                  </a:lnTo>
                  <a:lnTo>
                    <a:pt x="767" y="22"/>
                  </a:lnTo>
                  <a:close/>
                  <a:moveTo>
                    <a:pt x="495" y="739"/>
                  </a:moveTo>
                  <a:lnTo>
                    <a:pt x="495" y="739"/>
                  </a:lnTo>
                  <a:lnTo>
                    <a:pt x="481" y="739"/>
                  </a:lnTo>
                  <a:lnTo>
                    <a:pt x="467" y="738"/>
                  </a:lnTo>
                  <a:lnTo>
                    <a:pt x="453" y="736"/>
                  </a:lnTo>
                  <a:lnTo>
                    <a:pt x="440" y="734"/>
                  </a:lnTo>
                  <a:lnTo>
                    <a:pt x="427" y="731"/>
                  </a:lnTo>
                  <a:lnTo>
                    <a:pt x="413" y="727"/>
                  </a:lnTo>
                  <a:lnTo>
                    <a:pt x="401" y="723"/>
                  </a:lnTo>
                  <a:lnTo>
                    <a:pt x="389" y="719"/>
                  </a:lnTo>
                  <a:lnTo>
                    <a:pt x="377" y="713"/>
                  </a:lnTo>
                  <a:lnTo>
                    <a:pt x="366" y="708"/>
                  </a:lnTo>
                  <a:lnTo>
                    <a:pt x="354" y="701"/>
                  </a:lnTo>
                  <a:lnTo>
                    <a:pt x="343" y="694"/>
                  </a:lnTo>
                  <a:lnTo>
                    <a:pt x="333" y="686"/>
                  </a:lnTo>
                  <a:lnTo>
                    <a:pt x="323" y="679"/>
                  </a:lnTo>
                  <a:lnTo>
                    <a:pt x="313" y="670"/>
                  </a:lnTo>
                  <a:lnTo>
                    <a:pt x="303" y="662"/>
                  </a:lnTo>
                  <a:lnTo>
                    <a:pt x="295" y="653"/>
                  </a:lnTo>
                  <a:lnTo>
                    <a:pt x="287" y="643"/>
                  </a:lnTo>
                  <a:lnTo>
                    <a:pt x="279" y="633"/>
                  </a:lnTo>
                  <a:lnTo>
                    <a:pt x="272" y="622"/>
                  </a:lnTo>
                  <a:lnTo>
                    <a:pt x="265" y="612"/>
                  </a:lnTo>
                  <a:lnTo>
                    <a:pt x="259" y="601"/>
                  </a:lnTo>
                  <a:lnTo>
                    <a:pt x="254" y="590"/>
                  </a:lnTo>
                  <a:lnTo>
                    <a:pt x="248" y="577"/>
                  </a:lnTo>
                  <a:lnTo>
                    <a:pt x="243" y="566"/>
                  </a:lnTo>
                  <a:lnTo>
                    <a:pt x="239" y="554"/>
                  </a:lnTo>
                  <a:lnTo>
                    <a:pt x="236" y="542"/>
                  </a:lnTo>
                  <a:lnTo>
                    <a:pt x="233" y="529"/>
                  </a:lnTo>
                  <a:lnTo>
                    <a:pt x="231" y="515"/>
                  </a:lnTo>
                  <a:lnTo>
                    <a:pt x="229" y="503"/>
                  </a:lnTo>
                  <a:lnTo>
                    <a:pt x="228" y="490"/>
                  </a:lnTo>
                  <a:lnTo>
                    <a:pt x="228" y="476"/>
                  </a:lnTo>
                  <a:lnTo>
                    <a:pt x="228" y="476"/>
                  </a:lnTo>
                  <a:lnTo>
                    <a:pt x="228" y="461"/>
                  </a:lnTo>
                  <a:lnTo>
                    <a:pt x="229" y="446"/>
                  </a:lnTo>
                  <a:lnTo>
                    <a:pt x="231" y="432"/>
                  </a:lnTo>
                  <a:lnTo>
                    <a:pt x="233" y="417"/>
                  </a:lnTo>
                  <a:lnTo>
                    <a:pt x="235" y="404"/>
                  </a:lnTo>
                  <a:lnTo>
                    <a:pt x="239" y="391"/>
                  </a:lnTo>
                  <a:lnTo>
                    <a:pt x="243" y="378"/>
                  </a:lnTo>
                  <a:lnTo>
                    <a:pt x="247" y="366"/>
                  </a:lnTo>
                  <a:lnTo>
                    <a:pt x="252" y="353"/>
                  </a:lnTo>
                  <a:lnTo>
                    <a:pt x="259" y="341"/>
                  </a:lnTo>
                  <a:lnTo>
                    <a:pt x="265" y="330"/>
                  </a:lnTo>
                  <a:lnTo>
                    <a:pt x="271" y="319"/>
                  </a:lnTo>
                  <a:lnTo>
                    <a:pt x="278" y="309"/>
                  </a:lnTo>
                  <a:lnTo>
                    <a:pt x="286" y="298"/>
                  </a:lnTo>
                  <a:lnTo>
                    <a:pt x="294" y="289"/>
                  </a:lnTo>
                  <a:lnTo>
                    <a:pt x="302" y="280"/>
                  </a:lnTo>
                  <a:lnTo>
                    <a:pt x="312" y="271"/>
                  </a:lnTo>
                  <a:lnTo>
                    <a:pt x="322" y="263"/>
                  </a:lnTo>
                  <a:lnTo>
                    <a:pt x="332" y="256"/>
                  </a:lnTo>
                  <a:lnTo>
                    <a:pt x="342" y="247"/>
                  </a:lnTo>
                  <a:lnTo>
                    <a:pt x="353" y="241"/>
                  </a:lnTo>
                  <a:lnTo>
                    <a:pt x="365" y="235"/>
                  </a:lnTo>
                  <a:lnTo>
                    <a:pt x="376" y="229"/>
                  </a:lnTo>
                  <a:lnTo>
                    <a:pt x="388" y="224"/>
                  </a:lnTo>
                  <a:lnTo>
                    <a:pt x="400" y="220"/>
                  </a:lnTo>
                  <a:lnTo>
                    <a:pt x="413" y="216"/>
                  </a:lnTo>
                  <a:lnTo>
                    <a:pt x="427" y="213"/>
                  </a:lnTo>
                  <a:lnTo>
                    <a:pt x="440" y="210"/>
                  </a:lnTo>
                  <a:lnTo>
                    <a:pt x="454" y="208"/>
                  </a:lnTo>
                  <a:lnTo>
                    <a:pt x="468" y="206"/>
                  </a:lnTo>
                  <a:lnTo>
                    <a:pt x="483" y="205"/>
                  </a:lnTo>
                  <a:lnTo>
                    <a:pt x="497" y="205"/>
                  </a:lnTo>
                  <a:lnTo>
                    <a:pt x="497" y="205"/>
                  </a:lnTo>
                  <a:lnTo>
                    <a:pt x="512" y="205"/>
                  </a:lnTo>
                  <a:lnTo>
                    <a:pt x="528" y="206"/>
                  </a:lnTo>
                  <a:lnTo>
                    <a:pt x="542" y="208"/>
                  </a:lnTo>
                  <a:lnTo>
                    <a:pt x="556" y="210"/>
                  </a:lnTo>
                  <a:lnTo>
                    <a:pt x="570" y="213"/>
                  </a:lnTo>
                  <a:lnTo>
                    <a:pt x="584" y="216"/>
                  </a:lnTo>
                  <a:lnTo>
                    <a:pt x="597" y="220"/>
                  </a:lnTo>
                  <a:lnTo>
                    <a:pt x="609" y="224"/>
                  </a:lnTo>
                  <a:lnTo>
                    <a:pt x="621" y="229"/>
                  </a:lnTo>
                  <a:lnTo>
                    <a:pt x="633" y="235"/>
                  </a:lnTo>
                  <a:lnTo>
                    <a:pt x="644" y="241"/>
                  </a:lnTo>
                  <a:lnTo>
                    <a:pt x="655" y="247"/>
                  </a:lnTo>
                  <a:lnTo>
                    <a:pt x="665" y="255"/>
                  </a:lnTo>
                  <a:lnTo>
                    <a:pt x="675" y="263"/>
                  </a:lnTo>
                  <a:lnTo>
                    <a:pt x="684" y="271"/>
                  </a:lnTo>
                  <a:lnTo>
                    <a:pt x="694" y="279"/>
                  </a:lnTo>
                  <a:lnTo>
                    <a:pt x="703" y="288"/>
                  </a:lnTo>
                  <a:lnTo>
                    <a:pt x="710" y="298"/>
                  </a:lnTo>
                  <a:lnTo>
                    <a:pt x="718" y="308"/>
                  </a:lnTo>
                  <a:lnTo>
                    <a:pt x="725" y="318"/>
                  </a:lnTo>
                  <a:lnTo>
                    <a:pt x="731" y="329"/>
                  </a:lnTo>
                  <a:lnTo>
                    <a:pt x="737" y="340"/>
                  </a:lnTo>
                  <a:lnTo>
                    <a:pt x="743" y="351"/>
                  </a:lnTo>
                  <a:lnTo>
                    <a:pt x="748" y="364"/>
                  </a:lnTo>
                  <a:lnTo>
                    <a:pt x="752" y="376"/>
                  </a:lnTo>
                  <a:lnTo>
                    <a:pt x="756" y="389"/>
                  </a:lnTo>
                  <a:lnTo>
                    <a:pt x="759" y="402"/>
                  </a:lnTo>
                  <a:lnTo>
                    <a:pt x="762" y="415"/>
                  </a:lnTo>
                  <a:lnTo>
                    <a:pt x="764" y="429"/>
                  </a:lnTo>
                  <a:lnTo>
                    <a:pt x="765" y="443"/>
                  </a:lnTo>
                  <a:lnTo>
                    <a:pt x="766" y="457"/>
                  </a:lnTo>
                  <a:lnTo>
                    <a:pt x="767" y="471"/>
                  </a:lnTo>
                  <a:lnTo>
                    <a:pt x="767" y="471"/>
                  </a:lnTo>
                  <a:lnTo>
                    <a:pt x="765" y="500"/>
                  </a:lnTo>
                  <a:lnTo>
                    <a:pt x="762" y="527"/>
                  </a:lnTo>
                  <a:lnTo>
                    <a:pt x="759" y="540"/>
                  </a:lnTo>
                  <a:lnTo>
                    <a:pt x="756" y="553"/>
                  </a:lnTo>
                  <a:lnTo>
                    <a:pt x="753" y="565"/>
                  </a:lnTo>
                  <a:lnTo>
                    <a:pt x="748" y="577"/>
                  </a:lnTo>
                  <a:lnTo>
                    <a:pt x="744" y="590"/>
                  </a:lnTo>
                  <a:lnTo>
                    <a:pt x="737" y="601"/>
                  </a:lnTo>
                  <a:lnTo>
                    <a:pt x="731" y="612"/>
                  </a:lnTo>
                  <a:lnTo>
                    <a:pt x="725" y="623"/>
                  </a:lnTo>
                  <a:lnTo>
                    <a:pt x="718" y="633"/>
                  </a:lnTo>
                  <a:lnTo>
                    <a:pt x="711" y="644"/>
                  </a:lnTo>
                  <a:lnTo>
                    <a:pt x="703" y="654"/>
                  </a:lnTo>
                  <a:lnTo>
                    <a:pt x="695" y="663"/>
                  </a:lnTo>
                  <a:lnTo>
                    <a:pt x="685" y="671"/>
                  </a:lnTo>
                  <a:lnTo>
                    <a:pt x="675" y="680"/>
                  </a:lnTo>
                  <a:lnTo>
                    <a:pt x="666" y="687"/>
                  </a:lnTo>
                  <a:lnTo>
                    <a:pt x="655" y="694"/>
                  </a:lnTo>
                  <a:lnTo>
                    <a:pt x="645" y="702"/>
                  </a:lnTo>
                  <a:lnTo>
                    <a:pt x="634" y="708"/>
                  </a:lnTo>
                  <a:lnTo>
                    <a:pt x="621" y="714"/>
                  </a:lnTo>
                  <a:lnTo>
                    <a:pt x="609" y="719"/>
                  </a:lnTo>
                  <a:lnTo>
                    <a:pt x="596" y="724"/>
                  </a:lnTo>
                  <a:lnTo>
                    <a:pt x="583" y="728"/>
                  </a:lnTo>
                  <a:lnTo>
                    <a:pt x="569" y="731"/>
                  </a:lnTo>
                  <a:lnTo>
                    <a:pt x="555" y="734"/>
                  </a:lnTo>
                  <a:lnTo>
                    <a:pt x="541" y="736"/>
                  </a:lnTo>
                  <a:lnTo>
                    <a:pt x="527" y="738"/>
                  </a:lnTo>
                  <a:lnTo>
                    <a:pt x="511" y="739"/>
                  </a:lnTo>
                  <a:lnTo>
                    <a:pt x="495" y="739"/>
                  </a:lnTo>
                  <a:lnTo>
                    <a:pt x="495" y="739"/>
                  </a:lnTo>
                  <a:close/>
                </a:path>
              </a:pathLst>
            </a:custGeom>
            <a:solidFill>
              <a:srgbClr val="60606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06060"/>
                </a:solidFill>
              </a:endParaRPr>
            </a:p>
          </p:txBody>
        </p:sp>
      </p:grpSp>
      <p:sp>
        <p:nvSpPr>
          <p:cNvPr id="30" name="TextBox 29"/>
          <p:cNvSpPr txBox="1"/>
          <p:nvPr userDrawn="1"/>
        </p:nvSpPr>
        <p:spPr>
          <a:xfrm rot="16200000">
            <a:off x="8671420" y="4560344"/>
            <a:ext cx="36420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400" b="1" dirty="0" smtClean="0">
                <a:solidFill>
                  <a:srgbClr val="BABABA"/>
                </a:solidFill>
              </a:rPr>
              <a:t>//</a:t>
            </a:r>
            <a:endParaRPr lang="en-US" sz="2400" b="1" dirty="0">
              <a:solidFill>
                <a:srgbClr val="BABABA"/>
              </a:solidFill>
            </a:endParaRPr>
          </a:p>
        </p:txBody>
      </p:sp>
      <p:pic>
        <p:nvPicPr>
          <p:cNvPr id="31" name="Degrees_2.png" descr="/Users/Sharon/WORK/BLOOMBERG/Degrees_2.png"/>
          <p:cNvPicPr>
            <a:picLocks noChangeAspect="1"/>
          </p:cNvPicPr>
          <p:nvPr userDrawn="1"/>
        </p:nvPicPr>
        <p:blipFill>
          <a:blip r:embed="rId20" r:link="rId21" cstate="print"/>
          <a:srcRect l="5524" t="50" r="17592" b="94679"/>
          <a:stretch>
            <a:fillRect/>
          </a:stretch>
        </p:blipFill>
        <p:spPr>
          <a:xfrm rot="16200000">
            <a:off x="5311776" y="3419476"/>
            <a:ext cx="6540500" cy="133347"/>
          </a:xfrm>
          <a:prstGeom prst="rect">
            <a:avLst/>
          </a:prstGeom>
        </p:spPr>
      </p:pic>
      <p:sp>
        <p:nvSpPr>
          <p:cNvPr id="36" name="Footer Placeholder 35"/>
          <p:cNvSpPr>
            <a:spLocks noGrp="1"/>
          </p:cNvSpPr>
          <p:nvPr>
            <p:ph type="ftr" sz="quarter" idx="3"/>
          </p:nvPr>
        </p:nvSpPr>
        <p:spPr>
          <a:xfrm>
            <a:off x="596900" y="6591300"/>
            <a:ext cx="7556500" cy="26670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800">
                <a:solidFill>
                  <a:srgbClr val="606060"/>
                </a:solidFill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4" r:id="rId3"/>
    <p:sldLayoutId id="2147483666" r:id="rId4"/>
    <p:sldLayoutId id="2147483665" r:id="rId5"/>
    <p:sldLayoutId id="2147483651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52" r:id="rId12"/>
    <p:sldLayoutId id="2147483653" r:id="rId13"/>
    <p:sldLayoutId id="2147483663" r:id="rId14"/>
    <p:sldLayoutId id="2147483654" r:id="rId15"/>
    <p:sldLayoutId id="2147483655" r:id="rId16"/>
    <p:sldLayoutId id="2147483656" r:id="rId17"/>
    <p:sldLayoutId id="2147483657" r:id="rId1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700"/>
        </a:lnSpc>
        <a:spcBef>
          <a:spcPct val="0"/>
        </a:spcBef>
        <a:buNone/>
        <a:defRPr lang="en-US" sz="3000" b="1" i="0" kern="1200" cap="all" dirty="0" smtClean="0">
          <a:solidFill>
            <a:schemeClr val="tx1"/>
          </a:solidFill>
          <a:latin typeface="Arial Bold"/>
          <a:ea typeface="+mj-ea"/>
          <a:cs typeface="Arial Bold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300"/>
        </a:spcAft>
        <a:buFont typeface="Arial" pitchFamily="34" charset="0"/>
        <a:buNone/>
        <a:defRPr lang="en-US" sz="2000" b="1" kern="1200" cap="all" dirty="0" smtClean="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ts val="800"/>
        </a:spcBef>
        <a:spcAft>
          <a:spcPts val="300"/>
        </a:spcAft>
        <a:buClr>
          <a:schemeClr val="accent2"/>
        </a:buClr>
        <a:buFont typeface="Lucida Grande"/>
        <a:buChar char="»"/>
        <a:defRPr lang="en-US" sz="1800" b="0" kern="1200" cap="none" dirty="0" smtClean="0">
          <a:solidFill>
            <a:srgbClr val="000000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ts val="600"/>
        </a:spcBef>
        <a:spcAft>
          <a:spcPts val="200"/>
        </a:spcAft>
        <a:buClr>
          <a:schemeClr val="accent2"/>
        </a:buClr>
        <a:buFont typeface="Arial" pitchFamily="34" charset="0"/>
        <a:buChar char="•"/>
        <a:defRPr lang="en-US" sz="1800" b="0" kern="1200" cap="none" dirty="0" smtClean="0">
          <a:solidFill>
            <a:srgbClr val="000000"/>
          </a:solidFill>
          <a:latin typeface="Arial"/>
          <a:ea typeface="+mn-ea"/>
          <a:cs typeface="Arial"/>
        </a:defRPr>
      </a:lvl3pPr>
      <a:lvl4pPr marL="1600200" indent="-228600" algn="l" defTabSz="914400" rtl="0" eaLnBrk="1" latinLnBrk="0" hangingPunct="1">
        <a:spcBef>
          <a:spcPts val="1300"/>
        </a:spcBef>
        <a:buClr>
          <a:srgbClr val="F78E1E"/>
        </a:buClr>
        <a:buFont typeface="Arial" pitchFamily="34" charset="0"/>
        <a:buChar char="–"/>
        <a:defRPr lang="en-US" sz="1400" b="0" kern="1200" cap="none" dirty="0" smtClean="0">
          <a:solidFill>
            <a:srgbClr val="000000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ts val="1200"/>
        </a:spcBef>
        <a:buClr>
          <a:schemeClr val="accent2"/>
        </a:buClr>
        <a:buFont typeface="Arial" pitchFamily="34" charset="0"/>
        <a:buChar char="–"/>
        <a:defRPr lang="en-US" sz="1400" b="0" kern="1200" cap="none" dirty="0" smtClean="0">
          <a:solidFill>
            <a:srgbClr val="000000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5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-76200" y="323851"/>
            <a:ext cx="9423400" cy="4544482"/>
          </a:xfrm>
        </p:spPr>
        <p:txBody>
          <a:bodyPr/>
          <a:lstStyle/>
          <a:p>
            <a:r>
              <a:rPr lang="en-US" dirty="0"/>
              <a:t>Bloomberg </a:t>
            </a:r>
            <a:r>
              <a:rPr lang="en-US" dirty="0" smtClean="0"/>
              <a:t>  Developer</a:t>
            </a:r>
            <a:br>
              <a:rPr lang="en-US" dirty="0" smtClean="0"/>
            </a:br>
            <a:r>
              <a:rPr lang="en-US" dirty="0" err="1" smtClean="0"/>
              <a:t>Quickstart</a:t>
            </a:r>
            <a:endParaRPr lang="en-US" dirty="0"/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October</a:t>
            </a:r>
            <a:r>
              <a:rPr lang="en-US" b="0" dirty="0" smtClean="0">
                <a:solidFill>
                  <a:schemeClr val="accent2"/>
                </a:solidFill>
              </a:rPr>
              <a:t>//</a:t>
            </a:r>
            <a:r>
              <a:rPr lang="en-US" b="0" dirty="0" smtClean="0">
                <a:solidFill>
                  <a:srgbClr val="000000"/>
                </a:solidFill>
              </a:rPr>
              <a:t>2015 </a:t>
            </a:r>
            <a:endParaRPr lang="en-US" b="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</a:t>
            </a:r>
            <a:endParaRPr lang="en-US" dirty="0" smtClean="0">
              <a:solidFill>
                <a:schemeClr val="accent2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14345626"/>
              </p:ext>
            </p:extLst>
          </p:nvPr>
        </p:nvGraphicFramePr>
        <p:xfrm>
          <a:off x="457200" y="1452564"/>
          <a:ext cx="7677150" cy="51704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3C57C-80DA-45D5-BFE5-7583B8192761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Concepts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80272654"/>
              </p:ext>
            </p:extLst>
          </p:nvPr>
        </p:nvGraphicFramePr>
        <p:xfrm>
          <a:off x="457200" y="1452564"/>
          <a:ext cx="7677150" cy="51704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3C57C-80DA-45D5-BFE5-7583B8192761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625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heme/theme1.xml><?xml version="1.0" encoding="utf-8"?>
<a:theme xmlns:a="http://schemas.openxmlformats.org/drawingml/2006/main" name="Office Theme">
  <a:themeElements>
    <a:clrScheme name="Bloomber Option FINAL">
      <a:dk1>
        <a:sysClr val="windowText" lastClr="000000"/>
      </a:dk1>
      <a:lt1>
        <a:sysClr val="window" lastClr="FFFFFF"/>
      </a:lt1>
      <a:dk2>
        <a:srgbClr val="A0A0A0"/>
      </a:dk2>
      <a:lt2>
        <a:srgbClr val="5EC2A5"/>
      </a:lt2>
      <a:accent1>
        <a:srgbClr val="E31837"/>
      </a:accent1>
      <a:accent2>
        <a:srgbClr val="F78E1E"/>
      </a:accent2>
      <a:accent3>
        <a:srgbClr val="FFDD00"/>
      </a:accent3>
      <a:accent4>
        <a:srgbClr val="A0CF67"/>
      </a:accent4>
      <a:accent5>
        <a:srgbClr val="00BCE4"/>
      </a:accent5>
      <a:accent6>
        <a:srgbClr val="8D64AA"/>
      </a:accent6>
      <a:hlink>
        <a:srgbClr val="5F5F5F"/>
      </a:hlink>
      <a:folHlink>
        <a:srgbClr val="919191"/>
      </a:folHlink>
    </a:clrScheme>
    <a:fontScheme name="BLOOMBER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976</TotalTime>
  <Words>72</Words>
  <Application>Microsoft Office PowerPoint</Application>
  <PresentationFormat>On-screen Show (4:3)</PresentationFormat>
  <Paragraphs>29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Arial Bold</vt:lpstr>
      <vt:lpstr>Calibri</vt:lpstr>
      <vt:lpstr>Lucida Grande</vt:lpstr>
      <vt:lpstr>Office Theme</vt:lpstr>
      <vt:lpstr>think-cell Slide</vt:lpstr>
      <vt:lpstr>Bloomberg   Developer Quickstart</vt:lpstr>
      <vt:lpstr>goals</vt:lpstr>
      <vt:lpstr>Key Concepts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Rachel</dc:creator>
  <cp:lastModifiedBy>Martin Volerich</cp:lastModifiedBy>
  <cp:revision>604</cp:revision>
  <cp:lastPrinted>2010-08-31T19:15:35Z</cp:lastPrinted>
  <dcterms:created xsi:type="dcterms:W3CDTF">2010-09-14T13:41:12Z</dcterms:created>
  <dcterms:modified xsi:type="dcterms:W3CDTF">2015-10-20T00:13:12Z</dcterms:modified>
</cp:coreProperties>
</file>